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handoutMasterIdLst>
    <p:handoutMasterId r:id="rId23"/>
  </p:handoutMasterIdLst>
  <p:sldIdLst>
    <p:sldId id="418" r:id="rId2"/>
    <p:sldId id="537" r:id="rId3"/>
    <p:sldId id="538" r:id="rId4"/>
    <p:sldId id="539" r:id="rId5"/>
    <p:sldId id="540" r:id="rId6"/>
    <p:sldId id="541" r:id="rId7"/>
    <p:sldId id="542" r:id="rId8"/>
    <p:sldId id="543" r:id="rId9"/>
    <p:sldId id="556" r:id="rId10"/>
    <p:sldId id="555" r:id="rId11"/>
    <p:sldId id="546" r:id="rId12"/>
    <p:sldId id="547" r:id="rId13"/>
    <p:sldId id="548" r:id="rId14"/>
    <p:sldId id="557" r:id="rId15"/>
    <p:sldId id="549" r:id="rId16"/>
    <p:sldId id="550" r:id="rId17"/>
    <p:sldId id="551" r:id="rId18"/>
    <p:sldId id="552" r:id="rId19"/>
    <p:sldId id="558" r:id="rId20"/>
    <p:sldId id="532" r:id="rId21"/>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Calibri" charset="0"/>
        <a:ea typeface="ＭＳ Ｐゴシック" charset="-128"/>
        <a:cs typeface="+mn-cs"/>
      </a:defRPr>
    </a:lvl1pPr>
    <a:lvl2pPr marL="457200" algn="l" rtl="0" eaLnBrk="0" fontAlgn="base" hangingPunct="0">
      <a:spcBef>
        <a:spcPct val="0"/>
      </a:spcBef>
      <a:spcAft>
        <a:spcPct val="0"/>
      </a:spcAft>
      <a:defRPr kern="1200">
        <a:solidFill>
          <a:schemeClr val="tx1"/>
        </a:solidFill>
        <a:latin typeface="Calibri" charset="0"/>
        <a:ea typeface="ＭＳ Ｐゴシック" charset="-128"/>
        <a:cs typeface="+mn-cs"/>
      </a:defRPr>
    </a:lvl2pPr>
    <a:lvl3pPr marL="914400" algn="l" rtl="0" eaLnBrk="0" fontAlgn="base" hangingPunct="0">
      <a:spcBef>
        <a:spcPct val="0"/>
      </a:spcBef>
      <a:spcAft>
        <a:spcPct val="0"/>
      </a:spcAft>
      <a:defRPr kern="1200">
        <a:solidFill>
          <a:schemeClr val="tx1"/>
        </a:solidFill>
        <a:latin typeface="Calibri" charset="0"/>
        <a:ea typeface="ＭＳ Ｐゴシック" charset="-128"/>
        <a:cs typeface="+mn-cs"/>
      </a:defRPr>
    </a:lvl3pPr>
    <a:lvl4pPr marL="1371600" algn="l" rtl="0" eaLnBrk="0" fontAlgn="base" hangingPunct="0">
      <a:spcBef>
        <a:spcPct val="0"/>
      </a:spcBef>
      <a:spcAft>
        <a:spcPct val="0"/>
      </a:spcAft>
      <a:defRPr kern="1200">
        <a:solidFill>
          <a:schemeClr val="tx1"/>
        </a:solidFill>
        <a:latin typeface="Calibri" charset="0"/>
        <a:ea typeface="ＭＳ Ｐゴシック" charset="-128"/>
        <a:cs typeface="+mn-cs"/>
      </a:defRPr>
    </a:lvl4pPr>
    <a:lvl5pPr marL="1828800" algn="l" rtl="0" eaLnBrk="0" fontAlgn="base" hangingPunct="0">
      <a:spcBef>
        <a:spcPct val="0"/>
      </a:spcBef>
      <a:spcAft>
        <a:spcPct val="0"/>
      </a:spcAft>
      <a:defRPr kern="1200">
        <a:solidFill>
          <a:schemeClr val="tx1"/>
        </a:solidFill>
        <a:latin typeface="Calibri" charset="0"/>
        <a:ea typeface="ＭＳ Ｐゴシック" charset="-128"/>
        <a:cs typeface="+mn-cs"/>
      </a:defRPr>
    </a:lvl5pPr>
    <a:lvl6pPr marL="2286000" algn="l" defTabSz="914400" rtl="0" eaLnBrk="1" latinLnBrk="0" hangingPunct="1">
      <a:defRPr kern="1200">
        <a:solidFill>
          <a:schemeClr val="tx1"/>
        </a:solidFill>
        <a:latin typeface="Calibri" charset="0"/>
        <a:ea typeface="ＭＳ Ｐゴシック" charset="-128"/>
        <a:cs typeface="+mn-cs"/>
      </a:defRPr>
    </a:lvl6pPr>
    <a:lvl7pPr marL="2743200" algn="l" defTabSz="914400" rtl="0" eaLnBrk="1" latinLnBrk="0" hangingPunct="1">
      <a:defRPr kern="1200">
        <a:solidFill>
          <a:schemeClr val="tx1"/>
        </a:solidFill>
        <a:latin typeface="Calibri" charset="0"/>
        <a:ea typeface="ＭＳ Ｐゴシック" charset="-128"/>
        <a:cs typeface="+mn-cs"/>
      </a:defRPr>
    </a:lvl7pPr>
    <a:lvl8pPr marL="3200400" algn="l" defTabSz="914400" rtl="0" eaLnBrk="1" latinLnBrk="0" hangingPunct="1">
      <a:defRPr kern="1200">
        <a:solidFill>
          <a:schemeClr val="tx1"/>
        </a:solidFill>
        <a:latin typeface="Calibri" charset="0"/>
        <a:ea typeface="ＭＳ Ｐゴシック" charset="-128"/>
        <a:cs typeface="+mn-cs"/>
      </a:defRPr>
    </a:lvl8pPr>
    <a:lvl9pPr marL="3657600" algn="l" defTabSz="914400" rtl="0" eaLnBrk="1" latinLnBrk="0" hangingPunct="1">
      <a:defRPr kern="1200">
        <a:solidFill>
          <a:schemeClr val="tx1"/>
        </a:solidFill>
        <a:latin typeface="Calibri" charset="0"/>
        <a:ea typeface="ＭＳ Ｐゴシック" charset="-128"/>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srgbClr val="FF0000"/>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009682"/>
    <a:srgbClr val="D7ECEC"/>
    <a:srgbClr val="DCF1F6"/>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50000"/>
    <p:restoredTop sz="82322"/>
  </p:normalViewPr>
  <p:slideViewPr>
    <p:cSldViewPr snapToGrid="0">
      <p:cViewPr>
        <p:scale>
          <a:sx n="93" d="100"/>
          <a:sy n="93" d="100"/>
        </p:scale>
        <p:origin x="1576" y="-304"/>
      </p:cViewPr>
      <p:guideLst>
        <p:guide orient="horz" pos="2160"/>
        <p:guide pos="3840"/>
      </p:guideLst>
    </p:cSldViewPr>
  </p:slideViewPr>
  <p:outlineViewPr>
    <p:cViewPr>
      <p:scale>
        <a:sx n="33" d="100"/>
        <a:sy n="33" d="100"/>
      </p:scale>
      <p:origin x="0" y="15600"/>
    </p:cViewPr>
  </p:outlineViewPr>
  <p:notesTextViewPr>
    <p:cViewPr>
      <p:scale>
        <a:sx n="1" d="1"/>
        <a:sy n="1" d="1"/>
      </p:scale>
      <p:origin x="0" y="0"/>
    </p:cViewPr>
  </p:notesTextViewPr>
  <p:sorterViewPr>
    <p:cViewPr varScale="1">
      <p:scale>
        <a:sx n="1" d="1"/>
        <a:sy n="1" d="1"/>
      </p:scale>
      <p:origin x="0" y="477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1" Type="http://schemas.openxmlformats.org/officeDocument/2006/relationships/image" Target="../media/image16.png"/></Relationships>
</file>

<file path=ppt/diagrams/_rels/drawing1.xml.rels><?xml version="1.0" encoding="UTF-8" standalone="yes"?>
<Relationships xmlns="http://schemas.openxmlformats.org/package/2006/relationships"><Relationship Id="rId1" Type="http://schemas.openxmlformats.org/officeDocument/2006/relationships/image" Target="../media/image16.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88C855-BF37-824B-B69A-B3282587F8AE}" type="doc">
      <dgm:prSet loTypeId="urn:microsoft.com/office/officeart/2005/8/layout/radial2" loCatId="" qsTypeId="urn:microsoft.com/office/officeart/2005/8/quickstyle/simple1" qsCatId="simple" csTypeId="urn:microsoft.com/office/officeart/2005/8/colors/colorful5" csCatId="colorful" phldr="1"/>
      <dgm:spPr/>
      <dgm:t>
        <a:bodyPr/>
        <a:lstStyle/>
        <a:p>
          <a:endParaRPr lang="nb-NO"/>
        </a:p>
      </dgm:t>
    </dgm:pt>
    <dgm:pt modelId="{B24765FE-1BAD-4948-9072-7BD14C6042B7}">
      <dgm:prSet phldrT="[Tekst]" custT="1"/>
      <dgm:spPr/>
      <dgm:t>
        <a:bodyPr/>
        <a:lstStyle/>
        <a:p>
          <a:r>
            <a:rPr lang="nb-NO" sz="1100" dirty="0"/>
            <a:t>Israel</a:t>
          </a:r>
        </a:p>
      </dgm:t>
    </dgm:pt>
    <dgm:pt modelId="{0DDCB167-6738-9A4D-AF5C-CA4770777D59}" type="parTrans" cxnId="{47181DEC-0828-6B47-9300-A427F1DBD47F}">
      <dgm:prSet/>
      <dgm:spPr/>
      <dgm:t>
        <a:bodyPr/>
        <a:lstStyle/>
        <a:p>
          <a:endParaRPr lang="nb-NO"/>
        </a:p>
      </dgm:t>
    </dgm:pt>
    <dgm:pt modelId="{AE770F02-13B1-4A4E-9361-F4E581538366}" type="sibTrans" cxnId="{47181DEC-0828-6B47-9300-A427F1DBD47F}">
      <dgm:prSet/>
      <dgm:spPr/>
      <dgm:t>
        <a:bodyPr/>
        <a:lstStyle/>
        <a:p>
          <a:endParaRPr lang="nb-NO"/>
        </a:p>
      </dgm:t>
    </dgm:pt>
    <dgm:pt modelId="{B5AF8587-88E0-9A4D-AD14-0E605917D169}">
      <dgm:prSet phldrT="[Tekst]" custT="1"/>
      <dgm:spPr/>
      <dgm:t>
        <a:bodyPr/>
        <a:lstStyle/>
        <a:p>
          <a:r>
            <a:rPr lang="nb-NO" sz="1100" dirty="0" err="1"/>
            <a:t>Switzer</a:t>
          </a:r>
          <a:r>
            <a:rPr lang="nb-NO" sz="1100" dirty="0"/>
            <a:t>-land</a:t>
          </a:r>
        </a:p>
      </dgm:t>
    </dgm:pt>
    <dgm:pt modelId="{63948476-2E06-3B44-BF2B-911D24A4616B}" type="parTrans" cxnId="{C2911275-669B-D04E-AE46-99875ED2AC80}">
      <dgm:prSet/>
      <dgm:spPr/>
      <dgm:t>
        <a:bodyPr/>
        <a:lstStyle/>
        <a:p>
          <a:endParaRPr lang="nb-NO"/>
        </a:p>
      </dgm:t>
    </dgm:pt>
    <dgm:pt modelId="{49FDD100-3E63-C842-B68F-E996852FC8F7}" type="sibTrans" cxnId="{C2911275-669B-D04E-AE46-99875ED2AC80}">
      <dgm:prSet/>
      <dgm:spPr/>
      <dgm:t>
        <a:bodyPr/>
        <a:lstStyle/>
        <a:p>
          <a:endParaRPr lang="nb-NO"/>
        </a:p>
      </dgm:t>
    </dgm:pt>
    <dgm:pt modelId="{6A16F7E3-CB9B-504B-9252-5B1F5EBCBC64}">
      <dgm:prSet phldrT="[Tekst]" custT="1"/>
      <dgm:spPr/>
      <dgm:t>
        <a:bodyPr/>
        <a:lstStyle/>
        <a:p>
          <a:r>
            <a:rPr lang="nb-NO" sz="1100"/>
            <a:t>Silicon Valley</a:t>
          </a:r>
        </a:p>
      </dgm:t>
    </dgm:pt>
    <dgm:pt modelId="{1A463840-1AF2-D745-9EE2-777D620FFED3}" type="parTrans" cxnId="{49FF9620-92D3-8D4E-A680-D90601592E99}">
      <dgm:prSet/>
      <dgm:spPr/>
      <dgm:t>
        <a:bodyPr/>
        <a:lstStyle/>
        <a:p>
          <a:endParaRPr lang="nb-NO"/>
        </a:p>
      </dgm:t>
    </dgm:pt>
    <dgm:pt modelId="{ECD82D30-7E66-4C41-B23A-03B9455DAE1A}" type="sibTrans" cxnId="{49FF9620-92D3-8D4E-A680-D90601592E99}">
      <dgm:prSet/>
      <dgm:spPr/>
      <dgm:t>
        <a:bodyPr/>
        <a:lstStyle/>
        <a:p>
          <a:endParaRPr lang="nb-NO"/>
        </a:p>
      </dgm:t>
    </dgm:pt>
    <dgm:pt modelId="{72BDB990-E03E-0046-AF72-ACBCA104CCFF}">
      <dgm:prSet phldrT="[Tekst]" custT="1"/>
      <dgm:spPr/>
      <dgm:t>
        <a:bodyPr/>
        <a:lstStyle/>
        <a:p>
          <a:r>
            <a:rPr lang="nb-NO" sz="1100"/>
            <a:t>New York</a:t>
          </a:r>
        </a:p>
      </dgm:t>
    </dgm:pt>
    <dgm:pt modelId="{5ACB2A66-4F72-1C4A-9A4E-7290C44243B3}" type="parTrans" cxnId="{F5AD9D2F-0438-6844-B1F1-7FB78498675A}">
      <dgm:prSet/>
      <dgm:spPr/>
      <dgm:t>
        <a:bodyPr/>
        <a:lstStyle/>
        <a:p>
          <a:endParaRPr lang="nb-NO"/>
        </a:p>
      </dgm:t>
    </dgm:pt>
    <dgm:pt modelId="{DCD3343C-E3C0-B543-BA5D-691168BEE9D5}" type="sibTrans" cxnId="{F5AD9D2F-0438-6844-B1F1-7FB78498675A}">
      <dgm:prSet/>
      <dgm:spPr/>
      <dgm:t>
        <a:bodyPr/>
        <a:lstStyle/>
        <a:p>
          <a:endParaRPr lang="nb-NO"/>
        </a:p>
      </dgm:t>
    </dgm:pt>
    <dgm:pt modelId="{F0E4401F-555F-0F43-92F7-FF36CE519D2E}">
      <dgm:prSet phldrT="[Tekst]" custT="1"/>
      <dgm:spPr/>
      <dgm:t>
        <a:bodyPr/>
        <a:lstStyle/>
        <a:p>
          <a:r>
            <a:rPr lang="nb-NO" sz="1100" dirty="0"/>
            <a:t>Shanghai</a:t>
          </a:r>
        </a:p>
      </dgm:t>
    </dgm:pt>
    <dgm:pt modelId="{87AD2079-9BC7-9C46-822D-DE9261040541}" type="parTrans" cxnId="{0924BA4D-FA86-1843-8174-EDCC98EACF75}">
      <dgm:prSet/>
      <dgm:spPr/>
      <dgm:t>
        <a:bodyPr/>
        <a:lstStyle/>
        <a:p>
          <a:endParaRPr lang="nb-NO"/>
        </a:p>
      </dgm:t>
    </dgm:pt>
    <dgm:pt modelId="{8076F934-07FB-9040-8B83-D990674F325A}" type="sibTrans" cxnId="{0924BA4D-FA86-1843-8174-EDCC98EACF75}">
      <dgm:prSet/>
      <dgm:spPr/>
      <dgm:t>
        <a:bodyPr/>
        <a:lstStyle/>
        <a:p>
          <a:endParaRPr lang="nb-NO"/>
        </a:p>
      </dgm:t>
    </dgm:pt>
    <dgm:pt modelId="{5E2BE73C-C1E7-7C41-BFA5-0601A74B3E74}">
      <dgm:prSet phldrT="[Tekst]" custT="1"/>
      <dgm:spPr/>
      <dgm:t>
        <a:bodyPr/>
        <a:lstStyle/>
        <a:p>
          <a:r>
            <a:rPr lang="nb-NO" sz="1100" dirty="0"/>
            <a:t>Berlin (Tysk-land, Benelux, UK)</a:t>
          </a:r>
        </a:p>
      </dgm:t>
    </dgm:pt>
    <dgm:pt modelId="{2FD6FE2A-EDDC-024F-BCD7-F4ED5E89EF23}" type="parTrans" cxnId="{12B137B8-0C59-1D4A-936E-51997D628ADE}">
      <dgm:prSet/>
      <dgm:spPr/>
      <dgm:t>
        <a:bodyPr/>
        <a:lstStyle/>
        <a:p>
          <a:endParaRPr lang="nb-NO"/>
        </a:p>
      </dgm:t>
    </dgm:pt>
    <dgm:pt modelId="{5F459195-0F15-C74F-AB2C-24E2AD148D9B}" type="sibTrans" cxnId="{12B137B8-0C59-1D4A-936E-51997D628ADE}">
      <dgm:prSet/>
      <dgm:spPr/>
      <dgm:t>
        <a:bodyPr/>
        <a:lstStyle/>
        <a:p>
          <a:endParaRPr lang="nb-NO"/>
        </a:p>
      </dgm:t>
    </dgm:pt>
    <dgm:pt modelId="{F1349F03-545A-DB47-9CD4-B2488B9A9F5B}">
      <dgm:prSet phldrT="[Tekst]" custT="1"/>
      <dgm:spPr/>
      <dgm:t>
        <a:bodyPr/>
        <a:lstStyle/>
        <a:p>
          <a:r>
            <a:rPr lang="nb-NO" sz="1100" dirty="0" err="1"/>
            <a:t>Singa</a:t>
          </a:r>
          <a:r>
            <a:rPr lang="nb-NO" sz="1100" dirty="0"/>
            <a:t>-pore+</a:t>
          </a:r>
        </a:p>
      </dgm:t>
    </dgm:pt>
    <dgm:pt modelId="{E829AEB0-2C9D-3D4F-A69A-37F8AFDB39E8}" type="parTrans" cxnId="{3C4A82B8-86D9-6448-8EFA-9FEA6F9B8AA6}">
      <dgm:prSet/>
      <dgm:spPr/>
      <dgm:t>
        <a:bodyPr/>
        <a:lstStyle/>
        <a:p>
          <a:endParaRPr lang="nb-NO"/>
        </a:p>
      </dgm:t>
    </dgm:pt>
    <dgm:pt modelId="{456D1AE9-BA25-9240-A0DA-296A1EBCD609}" type="sibTrans" cxnId="{3C4A82B8-86D9-6448-8EFA-9FEA6F9B8AA6}">
      <dgm:prSet/>
      <dgm:spPr/>
      <dgm:t>
        <a:bodyPr/>
        <a:lstStyle/>
        <a:p>
          <a:endParaRPr lang="nb-NO"/>
        </a:p>
      </dgm:t>
    </dgm:pt>
    <dgm:pt modelId="{70714D2E-6024-CE41-A282-AD1FD4C01279}" type="pres">
      <dgm:prSet presAssocID="{D288C855-BF37-824B-B69A-B3282587F8AE}" presName="composite" presStyleCnt="0">
        <dgm:presLayoutVars>
          <dgm:chMax val="5"/>
          <dgm:dir/>
          <dgm:animLvl val="ctr"/>
          <dgm:resizeHandles val="exact"/>
        </dgm:presLayoutVars>
      </dgm:prSet>
      <dgm:spPr/>
    </dgm:pt>
    <dgm:pt modelId="{87BC167C-550D-B447-98D4-4B5AF9C70636}" type="pres">
      <dgm:prSet presAssocID="{D288C855-BF37-824B-B69A-B3282587F8AE}" presName="cycle" presStyleCnt="0"/>
      <dgm:spPr/>
    </dgm:pt>
    <dgm:pt modelId="{9BE141D3-7F7A-8642-BC07-023BE1B865B8}" type="pres">
      <dgm:prSet presAssocID="{D288C855-BF37-824B-B69A-B3282587F8AE}" presName="centerShape" presStyleCnt="0"/>
      <dgm:spPr/>
    </dgm:pt>
    <dgm:pt modelId="{01A67229-1408-1547-B4F7-F719DCA1B628}" type="pres">
      <dgm:prSet presAssocID="{D288C855-BF37-824B-B69A-B3282587F8AE}" presName="connSite" presStyleLbl="node1" presStyleIdx="0" presStyleCnt="8"/>
      <dgm:spPr/>
    </dgm:pt>
    <dgm:pt modelId="{EFF4D6B0-87F4-D644-B6DF-F023EA2C1095}" type="pres">
      <dgm:prSet presAssocID="{D288C855-BF37-824B-B69A-B3282587F8AE}" presName="visible" presStyleLbl="node1" presStyleIdx="0" presStyleCnt="8" custScaleX="304682" custScaleY="315731" custLinFactNeighborX="-651"/>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0B1EF2D9-7F90-7D4D-9D8B-2B6D57A38AAF}" type="pres">
      <dgm:prSet presAssocID="{0DDCB167-6738-9A4D-AF5C-CA4770777D59}" presName="Name25" presStyleLbl="parChTrans1D1" presStyleIdx="0" presStyleCnt="7"/>
      <dgm:spPr/>
    </dgm:pt>
    <dgm:pt modelId="{764F9C51-E463-314C-8227-828AE67AB027}" type="pres">
      <dgm:prSet presAssocID="{B24765FE-1BAD-4948-9072-7BD14C6042B7}" presName="node" presStyleCnt="0"/>
      <dgm:spPr/>
    </dgm:pt>
    <dgm:pt modelId="{7E2919A6-2A72-FA41-BF5A-16D061CD6259}" type="pres">
      <dgm:prSet presAssocID="{B24765FE-1BAD-4948-9072-7BD14C6042B7}" presName="parentNode" presStyleLbl="node1" presStyleIdx="1" presStyleCnt="8">
        <dgm:presLayoutVars>
          <dgm:chMax val="1"/>
          <dgm:bulletEnabled val="1"/>
        </dgm:presLayoutVars>
      </dgm:prSet>
      <dgm:spPr/>
    </dgm:pt>
    <dgm:pt modelId="{FFFD7CFD-B5C6-1F48-86AE-92C1F83214CE}" type="pres">
      <dgm:prSet presAssocID="{B24765FE-1BAD-4948-9072-7BD14C6042B7}" presName="childNode" presStyleLbl="revTx" presStyleIdx="0" presStyleCnt="0">
        <dgm:presLayoutVars>
          <dgm:bulletEnabled val="1"/>
        </dgm:presLayoutVars>
      </dgm:prSet>
      <dgm:spPr/>
    </dgm:pt>
    <dgm:pt modelId="{E83122A7-C234-0442-BF0D-AE528FEA7FC2}" type="pres">
      <dgm:prSet presAssocID="{63948476-2E06-3B44-BF2B-911D24A4616B}" presName="Name25" presStyleLbl="parChTrans1D1" presStyleIdx="1" presStyleCnt="7"/>
      <dgm:spPr/>
    </dgm:pt>
    <dgm:pt modelId="{724EB21D-C71E-5F4E-8273-140262EA9CFE}" type="pres">
      <dgm:prSet presAssocID="{B5AF8587-88E0-9A4D-AD14-0E605917D169}" presName="node" presStyleCnt="0"/>
      <dgm:spPr/>
    </dgm:pt>
    <dgm:pt modelId="{B4A57ECF-3D95-4044-92FD-0AD0C8E8C6A8}" type="pres">
      <dgm:prSet presAssocID="{B5AF8587-88E0-9A4D-AD14-0E605917D169}" presName="parentNode" presStyleLbl="node1" presStyleIdx="2" presStyleCnt="8">
        <dgm:presLayoutVars>
          <dgm:chMax val="1"/>
          <dgm:bulletEnabled val="1"/>
        </dgm:presLayoutVars>
      </dgm:prSet>
      <dgm:spPr/>
    </dgm:pt>
    <dgm:pt modelId="{45ADE2BA-76E1-E44A-8BF1-CE4B7BABA08E}" type="pres">
      <dgm:prSet presAssocID="{B5AF8587-88E0-9A4D-AD14-0E605917D169}" presName="childNode" presStyleLbl="revTx" presStyleIdx="0" presStyleCnt="0">
        <dgm:presLayoutVars>
          <dgm:bulletEnabled val="1"/>
        </dgm:presLayoutVars>
      </dgm:prSet>
      <dgm:spPr/>
    </dgm:pt>
    <dgm:pt modelId="{86271FE2-9E16-2741-937E-4EE684F2F7A0}" type="pres">
      <dgm:prSet presAssocID="{1A463840-1AF2-D745-9EE2-777D620FFED3}" presName="Name25" presStyleLbl="parChTrans1D1" presStyleIdx="2" presStyleCnt="7"/>
      <dgm:spPr/>
    </dgm:pt>
    <dgm:pt modelId="{549A67D7-68D4-3944-A102-4B5157DB378C}" type="pres">
      <dgm:prSet presAssocID="{6A16F7E3-CB9B-504B-9252-5B1F5EBCBC64}" presName="node" presStyleCnt="0"/>
      <dgm:spPr/>
    </dgm:pt>
    <dgm:pt modelId="{D9B079BC-F8CE-5D4B-BEFB-3C6601459093}" type="pres">
      <dgm:prSet presAssocID="{6A16F7E3-CB9B-504B-9252-5B1F5EBCBC64}" presName="parentNode" presStyleLbl="node1" presStyleIdx="3" presStyleCnt="8">
        <dgm:presLayoutVars>
          <dgm:chMax val="1"/>
          <dgm:bulletEnabled val="1"/>
        </dgm:presLayoutVars>
      </dgm:prSet>
      <dgm:spPr/>
    </dgm:pt>
    <dgm:pt modelId="{4425FD8E-3F90-5C42-8696-4BB66871FE0C}" type="pres">
      <dgm:prSet presAssocID="{6A16F7E3-CB9B-504B-9252-5B1F5EBCBC64}" presName="childNode" presStyleLbl="revTx" presStyleIdx="0" presStyleCnt="0">
        <dgm:presLayoutVars>
          <dgm:bulletEnabled val="1"/>
        </dgm:presLayoutVars>
      </dgm:prSet>
      <dgm:spPr/>
    </dgm:pt>
    <dgm:pt modelId="{BC81E7F2-615F-9E4F-BC85-33CD6C781A04}" type="pres">
      <dgm:prSet presAssocID="{5ACB2A66-4F72-1C4A-9A4E-7290C44243B3}" presName="Name25" presStyleLbl="parChTrans1D1" presStyleIdx="3" presStyleCnt="7"/>
      <dgm:spPr/>
    </dgm:pt>
    <dgm:pt modelId="{7C09635A-6237-3948-95E4-8DF4F3EE5059}" type="pres">
      <dgm:prSet presAssocID="{72BDB990-E03E-0046-AF72-ACBCA104CCFF}" presName="node" presStyleCnt="0"/>
      <dgm:spPr/>
    </dgm:pt>
    <dgm:pt modelId="{A32EA988-F1D4-C84C-B5EA-806D9C175A7B}" type="pres">
      <dgm:prSet presAssocID="{72BDB990-E03E-0046-AF72-ACBCA104CCFF}" presName="parentNode" presStyleLbl="node1" presStyleIdx="4" presStyleCnt="8">
        <dgm:presLayoutVars>
          <dgm:chMax val="1"/>
          <dgm:bulletEnabled val="1"/>
        </dgm:presLayoutVars>
      </dgm:prSet>
      <dgm:spPr/>
    </dgm:pt>
    <dgm:pt modelId="{4D861A52-6CA7-0A43-856B-42728D0CF0AC}" type="pres">
      <dgm:prSet presAssocID="{72BDB990-E03E-0046-AF72-ACBCA104CCFF}" presName="childNode" presStyleLbl="revTx" presStyleIdx="0" presStyleCnt="0">
        <dgm:presLayoutVars>
          <dgm:bulletEnabled val="1"/>
        </dgm:presLayoutVars>
      </dgm:prSet>
      <dgm:spPr/>
    </dgm:pt>
    <dgm:pt modelId="{47FA7465-E99C-FE43-B4FB-ECEB826A8A95}" type="pres">
      <dgm:prSet presAssocID="{2FD6FE2A-EDDC-024F-BCD7-F4ED5E89EF23}" presName="Name25" presStyleLbl="parChTrans1D1" presStyleIdx="4" presStyleCnt="7"/>
      <dgm:spPr/>
    </dgm:pt>
    <dgm:pt modelId="{36F077D4-4D1F-864A-83CA-0EFF6994FFBC}" type="pres">
      <dgm:prSet presAssocID="{5E2BE73C-C1E7-7C41-BFA5-0601A74B3E74}" presName="node" presStyleCnt="0"/>
      <dgm:spPr/>
    </dgm:pt>
    <dgm:pt modelId="{8E247101-EF7A-C74E-AC84-4C6156F2C553}" type="pres">
      <dgm:prSet presAssocID="{5E2BE73C-C1E7-7C41-BFA5-0601A74B3E74}" presName="parentNode" presStyleLbl="node1" presStyleIdx="5" presStyleCnt="8">
        <dgm:presLayoutVars>
          <dgm:chMax val="1"/>
          <dgm:bulletEnabled val="1"/>
        </dgm:presLayoutVars>
      </dgm:prSet>
      <dgm:spPr/>
    </dgm:pt>
    <dgm:pt modelId="{59C08BC1-B5FD-E640-A03C-7EEA23FDF4A7}" type="pres">
      <dgm:prSet presAssocID="{5E2BE73C-C1E7-7C41-BFA5-0601A74B3E74}" presName="childNode" presStyleLbl="revTx" presStyleIdx="0" presStyleCnt="0">
        <dgm:presLayoutVars>
          <dgm:bulletEnabled val="1"/>
        </dgm:presLayoutVars>
      </dgm:prSet>
      <dgm:spPr/>
    </dgm:pt>
    <dgm:pt modelId="{EA7272F4-E39D-F04F-B7EB-6446E1F583E3}" type="pres">
      <dgm:prSet presAssocID="{E829AEB0-2C9D-3D4F-A69A-37F8AFDB39E8}" presName="Name25" presStyleLbl="parChTrans1D1" presStyleIdx="5" presStyleCnt="7"/>
      <dgm:spPr/>
    </dgm:pt>
    <dgm:pt modelId="{6A06CE12-1216-AC42-9A5C-621CCC02BBD1}" type="pres">
      <dgm:prSet presAssocID="{F1349F03-545A-DB47-9CD4-B2488B9A9F5B}" presName="node" presStyleCnt="0"/>
      <dgm:spPr/>
    </dgm:pt>
    <dgm:pt modelId="{8FEA1834-CA38-1D42-8D8E-7012FC0CA055}" type="pres">
      <dgm:prSet presAssocID="{F1349F03-545A-DB47-9CD4-B2488B9A9F5B}" presName="parentNode" presStyleLbl="node1" presStyleIdx="6" presStyleCnt="8">
        <dgm:presLayoutVars>
          <dgm:chMax val="1"/>
          <dgm:bulletEnabled val="1"/>
        </dgm:presLayoutVars>
      </dgm:prSet>
      <dgm:spPr/>
    </dgm:pt>
    <dgm:pt modelId="{94A869F0-30CF-D640-B12C-809E246B3422}" type="pres">
      <dgm:prSet presAssocID="{F1349F03-545A-DB47-9CD4-B2488B9A9F5B}" presName="childNode" presStyleLbl="revTx" presStyleIdx="0" presStyleCnt="0">
        <dgm:presLayoutVars>
          <dgm:bulletEnabled val="1"/>
        </dgm:presLayoutVars>
      </dgm:prSet>
      <dgm:spPr/>
    </dgm:pt>
    <dgm:pt modelId="{04C42902-138F-5146-B0EF-E4A7A67B20AF}" type="pres">
      <dgm:prSet presAssocID="{87AD2079-9BC7-9C46-822D-DE9261040541}" presName="Name25" presStyleLbl="parChTrans1D1" presStyleIdx="6" presStyleCnt="7"/>
      <dgm:spPr/>
    </dgm:pt>
    <dgm:pt modelId="{48BD9299-C1E7-1740-9053-D529905CDA68}" type="pres">
      <dgm:prSet presAssocID="{F0E4401F-555F-0F43-92F7-FF36CE519D2E}" presName="node" presStyleCnt="0"/>
      <dgm:spPr/>
    </dgm:pt>
    <dgm:pt modelId="{E50670DF-63FF-3249-B8D8-4EA8972CF858}" type="pres">
      <dgm:prSet presAssocID="{F0E4401F-555F-0F43-92F7-FF36CE519D2E}" presName="parentNode" presStyleLbl="node1" presStyleIdx="7" presStyleCnt="8">
        <dgm:presLayoutVars>
          <dgm:chMax val="1"/>
          <dgm:bulletEnabled val="1"/>
        </dgm:presLayoutVars>
      </dgm:prSet>
      <dgm:spPr/>
    </dgm:pt>
    <dgm:pt modelId="{531DE9B0-5F9C-7A45-AE26-38F608B23903}" type="pres">
      <dgm:prSet presAssocID="{F0E4401F-555F-0F43-92F7-FF36CE519D2E}" presName="childNode" presStyleLbl="revTx" presStyleIdx="0" presStyleCnt="0">
        <dgm:presLayoutVars>
          <dgm:bulletEnabled val="1"/>
        </dgm:presLayoutVars>
      </dgm:prSet>
      <dgm:spPr/>
    </dgm:pt>
  </dgm:ptLst>
  <dgm:cxnLst>
    <dgm:cxn modelId="{28A17418-B09C-474C-8469-781A1A72EDA1}" type="presOf" srcId="{2FD6FE2A-EDDC-024F-BCD7-F4ED5E89EF23}" destId="{47FA7465-E99C-FE43-B4FB-ECEB826A8A95}" srcOrd="0" destOrd="0" presId="urn:microsoft.com/office/officeart/2005/8/layout/radial2"/>
    <dgm:cxn modelId="{31A44319-0AB0-4247-ABB9-9CADD7371490}" type="presOf" srcId="{F1349F03-545A-DB47-9CD4-B2488B9A9F5B}" destId="{8FEA1834-CA38-1D42-8D8E-7012FC0CA055}" srcOrd="0" destOrd="0" presId="urn:microsoft.com/office/officeart/2005/8/layout/radial2"/>
    <dgm:cxn modelId="{49FF9620-92D3-8D4E-A680-D90601592E99}" srcId="{D288C855-BF37-824B-B69A-B3282587F8AE}" destId="{6A16F7E3-CB9B-504B-9252-5B1F5EBCBC64}" srcOrd="2" destOrd="0" parTransId="{1A463840-1AF2-D745-9EE2-777D620FFED3}" sibTransId="{ECD82D30-7E66-4C41-B23A-03B9455DAE1A}"/>
    <dgm:cxn modelId="{610E7F24-4C50-C948-8AE2-32B8ED205451}" type="presOf" srcId="{5E2BE73C-C1E7-7C41-BFA5-0601A74B3E74}" destId="{8E247101-EF7A-C74E-AC84-4C6156F2C553}" srcOrd="0" destOrd="0" presId="urn:microsoft.com/office/officeart/2005/8/layout/radial2"/>
    <dgm:cxn modelId="{F5AD9D2F-0438-6844-B1F1-7FB78498675A}" srcId="{D288C855-BF37-824B-B69A-B3282587F8AE}" destId="{72BDB990-E03E-0046-AF72-ACBCA104CCFF}" srcOrd="3" destOrd="0" parTransId="{5ACB2A66-4F72-1C4A-9A4E-7290C44243B3}" sibTransId="{DCD3343C-E3C0-B543-BA5D-691168BEE9D5}"/>
    <dgm:cxn modelId="{059D9D3F-9C67-A644-A4A1-D0B84DFBAFD5}" type="presOf" srcId="{5ACB2A66-4F72-1C4A-9A4E-7290C44243B3}" destId="{BC81E7F2-615F-9E4F-BC85-33CD6C781A04}" srcOrd="0" destOrd="0" presId="urn:microsoft.com/office/officeart/2005/8/layout/radial2"/>
    <dgm:cxn modelId="{0924BA4D-FA86-1843-8174-EDCC98EACF75}" srcId="{D288C855-BF37-824B-B69A-B3282587F8AE}" destId="{F0E4401F-555F-0F43-92F7-FF36CE519D2E}" srcOrd="6" destOrd="0" parTransId="{87AD2079-9BC7-9C46-822D-DE9261040541}" sibTransId="{8076F934-07FB-9040-8B83-D990674F325A}"/>
    <dgm:cxn modelId="{4C7CE554-584A-0F44-AC9C-2E31668EE516}" type="presOf" srcId="{63948476-2E06-3B44-BF2B-911D24A4616B}" destId="{E83122A7-C234-0442-BF0D-AE528FEA7FC2}" srcOrd="0" destOrd="0" presId="urn:microsoft.com/office/officeart/2005/8/layout/radial2"/>
    <dgm:cxn modelId="{D7D76F5D-F0DD-3E4C-A47E-419DB8F5C9FF}" type="presOf" srcId="{D288C855-BF37-824B-B69A-B3282587F8AE}" destId="{70714D2E-6024-CE41-A282-AD1FD4C01279}" srcOrd="0" destOrd="0" presId="urn:microsoft.com/office/officeart/2005/8/layout/radial2"/>
    <dgm:cxn modelId="{2AF9256E-B124-7642-9756-822C03654801}" type="presOf" srcId="{F0E4401F-555F-0F43-92F7-FF36CE519D2E}" destId="{E50670DF-63FF-3249-B8D8-4EA8972CF858}" srcOrd="0" destOrd="0" presId="urn:microsoft.com/office/officeart/2005/8/layout/radial2"/>
    <dgm:cxn modelId="{87CCCB71-9092-164F-800A-85789CFD2CC9}" type="presOf" srcId="{87AD2079-9BC7-9C46-822D-DE9261040541}" destId="{04C42902-138F-5146-B0EF-E4A7A67B20AF}" srcOrd="0" destOrd="0" presId="urn:microsoft.com/office/officeart/2005/8/layout/radial2"/>
    <dgm:cxn modelId="{C2911275-669B-D04E-AE46-99875ED2AC80}" srcId="{D288C855-BF37-824B-B69A-B3282587F8AE}" destId="{B5AF8587-88E0-9A4D-AD14-0E605917D169}" srcOrd="1" destOrd="0" parTransId="{63948476-2E06-3B44-BF2B-911D24A4616B}" sibTransId="{49FDD100-3E63-C842-B68F-E996852FC8F7}"/>
    <dgm:cxn modelId="{8F2ECE76-3F9D-0A4D-80B5-21B6FC1DBFF3}" type="presOf" srcId="{1A463840-1AF2-D745-9EE2-777D620FFED3}" destId="{86271FE2-9E16-2741-937E-4EE684F2F7A0}" srcOrd="0" destOrd="0" presId="urn:microsoft.com/office/officeart/2005/8/layout/radial2"/>
    <dgm:cxn modelId="{468DCCAC-477F-824B-BA46-0B1F20ACFDC0}" type="presOf" srcId="{72BDB990-E03E-0046-AF72-ACBCA104CCFF}" destId="{A32EA988-F1D4-C84C-B5EA-806D9C175A7B}" srcOrd="0" destOrd="0" presId="urn:microsoft.com/office/officeart/2005/8/layout/radial2"/>
    <dgm:cxn modelId="{C2A826B1-1F26-8D4B-BB4F-44DC647623C5}" type="presOf" srcId="{0DDCB167-6738-9A4D-AF5C-CA4770777D59}" destId="{0B1EF2D9-7F90-7D4D-9D8B-2B6D57A38AAF}" srcOrd="0" destOrd="0" presId="urn:microsoft.com/office/officeart/2005/8/layout/radial2"/>
    <dgm:cxn modelId="{12B137B8-0C59-1D4A-936E-51997D628ADE}" srcId="{D288C855-BF37-824B-B69A-B3282587F8AE}" destId="{5E2BE73C-C1E7-7C41-BFA5-0601A74B3E74}" srcOrd="4" destOrd="0" parTransId="{2FD6FE2A-EDDC-024F-BCD7-F4ED5E89EF23}" sibTransId="{5F459195-0F15-C74F-AB2C-24E2AD148D9B}"/>
    <dgm:cxn modelId="{3C4A82B8-86D9-6448-8EFA-9FEA6F9B8AA6}" srcId="{D288C855-BF37-824B-B69A-B3282587F8AE}" destId="{F1349F03-545A-DB47-9CD4-B2488B9A9F5B}" srcOrd="5" destOrd="0" parTransId="{E829AEB0-2C9D-3D4F-A69A-37F8AFDB39E8}" sibTransId="{456D1AE9-BA25-9240-A0DA-296A1EBCD609}"/>
    <dgm:cxn modelId="{6ABD1ED1-626A-1947-916C-91FBB8291D59}" type="presOf" srcId="{6A16F7E3-CB9B-504B-9252-5B1F5EBCBC64}" destId="{D9B079BC-F8CE-5D4B-BEFB-3C6601459093}" srcOrd="0" destOrd="0" presId="urn:microsoft.com/office/officeart/2005/8/layout/radial2"/>
    <dgm:cxn modelId="{783FF6D5-F302-644F-B3C2-1202ED23E506}" type="presOf" srcId="{B24765FE-1BAD-4948-9072-7BD14C6042B7}" destId="{7E2919A6-2A72-FA41-BF5A-16D061CD6259}" srcOrd="0" destOrd="0" presId="urn:microsoft.com/office/officeart/2005/8/layout/radial2"/>
    <dgm:cxn modelId="{63E843E2-EC6D-3B43-982B-FF1EF9E92DB3}" type="presOf" srcId="{B5AF8587-88E0-9A4D-AD14-0E605917D169}" destId="{B4A57ECF-3D95-4044-92FD-0AD0C8E8C6A8}" srcOrd="0" destOrd="0" presId="urn:microsoft.com/office/officeart/2005/8/layout/radial2"/>
    <dgm:cxn modelId="{47181DEC-0828-6B47-9300-A427F1DBD47F}" srcId="{D288C855-BF37-824B-B69A-B3282587F8AE}" destId="{B24765FE-1BAD-4948-9072-7BD14C6042B7}" srcOrd="0" destOrd="0" parTransId="{0DDCB167-6738-9A4D-AF5C-CA4770777D59}" sibTransId="{AE770F02-13B1-4A4E-9361-F4E581538366}"/>
    <dgm:cxn modelId="{C04018F3-EF79-0F4B-AE02-C66F1842D630}" type="presOf" srcId="{E829AEB0-2C9D-3D4F-A69A-37F8AFDB39E8}" destId="{EA7272F4-E39D-F04F-B7EB-6446E1F583E3}" srcOrd="0" destOrd="0" presId="urn:microsoft.com/office/officeart/2005/8/layout/radial2"/>
    <dgm:cxn modelId="{B2FD48D0-20E7-4F4F-95B8-61C3AD71283A}" type="presParOf" srcId="{70714D2E-6024-CE41-A282-AD1FD4C01279}" destId="{87BC167C-550D-B447-98D4-4B5AF9C70636}" srcOrd="0" destOrd="0" presId="urn:microsoft.com/office/officeart/2005/8/layout/radial2"/>
    <dgm:cxn modelId="{723557AC-ACE2-5049-8B79-EDE0E79A4013}" type="presParOf" srcId="{87BC167C-550D-B447-98D4-4B5AF9C70636}" destId="{9BE141D3-7F7A-8642-BC07-023BE1B865B8}" srcOrd="0" destOrd="0" presId="urn:microsoft.com/office/officeart/2005/8/layout/radial2"/>
    <dgm:cxn modelId="{1FA850C6-6BFE-3240-943B-BFE8B1FCB573}" type="presParOf" srcId="{9BE141D3-7F7A-8642-BC07-023BE1B865B8}" destId="{01A67229-1408-1547-B4F7-F719DCA1B628}" srcOrd="0" destOrd="0" presId="urn:microsoft.com/office/officeart/2005/8/layout/radial2"/>
    <dgm:cxn modelId="{8300340E-3033-A848-A3DC-2838255F0E1C}" type="presParOf" srcId="{9BE141D3-7F7A-8642-BC07-023BE1B865B8}" destId="{EFF4D6B0-87F4-D644-B6DF-F023EA2C1095}" srcOrd="1" destOrd="0" presId="urn:microsoft.com/office/officeart/2005/8/layout/radial2"/>
    <dgm:cxn modelId="{B79860C4-07B4-7245-85FF-501277A042F1}" type="presParOf" srcId="{87BC167C-550D-B447-98D4-4B5AF9C70636}" destId="{0B1EF2D9-7F90-7D4D-9D8B-2B6D57A38AAF}" srcOrd="1" destOrd="0" presId="urn:microsoft.com/office/officeart/2005/8/layout/radial2"/>
    <dgm:cxn modelId="{7DBBC9BE-FC0A-BC47-B439-FBE50FB321FA}" type="presParOf" srcId="{87BC167C-550D-B447-98D4-4B5AF9C70636}" destId="{764F9C51-E463-314C-8227-828AE67AB027}" srcOrd="2" destOrd="0" presId="urn:microsoft.com/office/officeart/2005/8/layout/radial2"/>
    <dgm:cxn modelId="{5DF91028-4160-744D-913A-F09001E64E0F}" type="presParOf" srcId="{764F9C51-E463-314C-8227-828AE67AB027}" destId="{7E2919A6-2A72-FA41-BF5A-16D061CD6259}" srcOrd="0" destOrd="0" presId="urn:microsoft.com/office/officeart/2005/8/layout/radial2"/>
    <dgm:cxn modelId="{7401FAA0-FE84-9946-A8BD-1800098D19FF}" type="presParOf" srcId="{764F9C51-E463-314C-8227-828AE67AB027}" destId="{FFFD7CFD-B5C6-1F48-86AE-92C1F83214CE}" srcOrd="1" destOrd="0" presId="urn:microsoft.com/office/officeart/2005/8/layout/radial2"/>
    <dgm:cxn modelId="{94F97285-FB37-BD44-BE2A-520ECCA0DB8D}" type="presParOf" srcId="{87BC167C-550D-B447-98D4-4B5AF9C70636}" destId="{E83122A7-C234-0442-BF0D-AE528FEA7FC2}" srcOrd="3" destOrd="0" presId="urn:microsoft.com/office/officeart/2005/8/layout/radial2"/>
    <dgm:cxn modelId="{80807CD1-9910-8E40-82DE-2EE8A255B05E}" type="presParOf" srcId="{87BC167C-550D-B447-98D4-4B5AF9C70636}" destId="{724EB21D-C71E-5F4E-8273-140262EA9CFE}" srcOrd="4" destOrd="0" presId="urn:microsoft.com/office/officeart/2005/8/layout/radial2"/>
    <dgm:cxn modelId="{77290BE4-B6FB-E34C-A968-CCE8187E49B3}" type="presParOf" srcId="{724EB21D-C71E-5F4E-8273-140262EA9CFE}" destId="{B4A57ECF-3D95-4044-92FD-0AD0C8E8C6A8}" srcOrd="0" destOrd="0" presId="urn:microsoft.com/office/officeart/2005/8/layout/radial2"/>
    <dgm:cxn modelId="{1FCA0199-2E55-3649-95E9-0F81252C3C44}" type="presParOf" srcId="{724EB21D-C71E-5F4E-8273-140262EA9CFE}" destId="{45ADE2BA-76E1-E44A-8BF1-CE4B7BABA08E}" srcOrd="1" destOrd="0" presId="urn:microsoft.com/office/officeart/2005/8/layout/radial2"/>
    <dgm:cxn modelId="{660C66EF-7FF9-A243-AE78-70BF90505927}" type="presParOf" srcId="{87BC167C-550D-B447-98D4-4B5AF9C70636}" destId="{86271FE2-9E16-2741-937E-4EE684F2F7A0}" srcOrd="5" destOrd="0" presId="urn:microsoft.com/office/officeart/2005/8/layout/radial2"/>
    <dgm:cxn modelId="{6A9C38E8-2EEA-9A40-8293-B97953B701EB}" type="presParOf" srcId="{87BC167C-550D-B447-98D4-4B5AF9C70636}" destId="{549A67D7-68D4-3944-A102-4B5157DB378C}" srcOrd="6" destOrd="0" presId="urn:microsoft.com/office/officeart/2005/8/layout/radial2"/>
    <dgm:cxn modelId="{2ECFB473-674C-FD4F-A8F9-4E50F1F5F4D2}" type="presParOf" srcId="{549A67D7-68D4-3944-A102-4B5157DB378C}" destId="{D9B079BC-F8CE-5D4B-BEFB-3C6601459093}" srcOrd="0" destOrd="0" presId="urn:microsoft.com/office/officeart/2005/8/layout/radial2"/>
    <dgm:cxn modelId="{01C11B60-F5E0-664C-9E2B-0E3F9789F5B2}" type="presParOf" srcId="{549A67D7-68D4-3944-A102-4B5157DB378C}" destId="{4425FD8E-3F90-5C42-8696-4BB66871FE0C}" srcOrd="1" destOrd="0" presId="urn:microsoft.com/office/officeart/2005/8/layout/radial2"/>
    <dgm:cxn modelId="{6B590036-1B3D-B249-B53D-86AA495C10A7}" type="presParOf" srcId="{87BC167C-550D-B447-98D4-4B5AF9C70636}" destId="{BC81E7F2-615F-9E4F-BC85-33CD6C781A04}" srcOrd="7" destOrd="0" presId="urn:microsoft.com/office/officeart/2005/8/layout/radial2"/>
    <dgm:cxn modelId="{79594C9A-9E41-2445-8669-23FC8CA74999}" type="presParOf" srcId="{87BC167C-550D-B447-98D4-4B5AF9C70636}" destId="{7C09635A-6237-3948-95E4-8DF4F3EE5059}" srcOrd="8" destOrd="0" presId="urn:microsoft.com/office/officeart/2005/8/layout/radial2"/>
    <dgm:cxn modelId="{3DFEFDCD-AF3F-CC42-9078-D0209D4E0C7D}" type="presParOf" srcId="{7C09635A-6237-3948-95E4-8DF4F3EE5059}" destId="{A32EA988-F1D4-C84C-B5EA-806D9C175A7B}" srcOrd="0" destOrd="0" presId="urn:microsoft.com/office/officeart/2005/8/layout/radial2"/>
    <dgm:cxn modelId="{C85C31EC-E3D1-984F-8259-0A9ACA2A30A3}" type="presParOf" srcId="{7C09635A-6237-3948-95E4-8DF4F3EE5059}" destId="{4D861A52-6CA7-0A43-856B-42728D0CF0AC}" srcOrd="1" destOrd="0" presId="urn:microsoft.com/office/officeart/2005/8/layout/radial2"/>
    <dgm:cxn modelId="{DF0F26EB-F5DC-9841-B915-5E6DF777CDFB}" type="presParOf" srcId="{87BC167C-550D-B447-98D4-4B5AF9C70636}" destId="{47FA7465-E99C-FE43-B4FB-ECEB826A8A95}" srcOrd="9" destOrd="0" presId="urn:microsoft.com/office/officeart/2005/8/layout/radial2"/>
    <dgm:cxn modelId="{33FA41B1-C37E-734B-A987-850CC02BC127}" type="presParOf" srcId="{87BC167C-550D-B447-98D4-4B5AF9C70636}" destId="{36F077D4-4D1F-864A-83CA-0EFF6994FFBC}" srcOrd="10" destOrd="0" presId="urn:microsoft.com/office/officeart/2005/8/layout/radial2"/>
    <dgm:cxn modelId="{3C29F796-DA32-2440-85C9-F8A2DBC19637}" type="presParOf" srcId="{36F077D4-4D1F-864A-83CA-0EFF6994FFBC}" destId="{8E247101-EF7A-C74E-AC84-4C6156F2C553}" srcOrd="0" destOrd="0" presId="urn:microsoft.com/office/officeart/2005/8/layout/radial2"/>
    <dgm:cxn modelId="{3C4A4FA0-0611-BA4A-AA7E-A4C2684CF03D}" type="presParOf" srcId="{36F077D4-4D1F-864A-83CA-0EFF6994FFBC}" destId="{59C08BC1-B5FD-E640-A03C-7EEA23FDF4A7}" srcOrd="1" destOrd="0" presId="urn:microsoft.com/office/officeart/2005/8/layout/radial2"/>
    <dgm:cxn modelId="{435C67B1-C246-DF47-A257-DC209B83D19C}" type="presParOf" srcId="{87BC167C-550D-B447-98D4-4B5AF9C70636}" destId="{EA7272F4-E39D-F04F-B7EB-6446E1F583E3}" srcOrd="11" destOrd="0" presId="urn:microsoft.com/office/officeart/2005/8/layout/radial2"/>
    <dgm:cxn modelId="{3901BF4C-5F55-964A-A5E6-0992942396D1}" type="presParOf" srcId="{87BC167C-550D-B447-98D4-4B5AF9C70636}" destId="{6A06CE12-1216-AC42-9A5C-621CCC02BBD1}" srcOrd="12" destOrd="0" presId="urn:microsoft.com/office/officeart/2005/8/layout/radial2"/>
    <dgm:cxn modelId="{E200514E-E320-114F-9C87-B1124014118D}" type="presParOf" srcId="{6A06CE12-1216-AC42-9A5C-621CCC02BBD1}" destId="{8FEA1834-CA38-1D42-8D8E-7012FC0CA055}" srcOrd="0" destOrd="0" presId="urn:microsoft.com/office/officeart/2005/8/layout/radial2"/>
    <dgm:cxn modelId="{1F2F2850-47BE-F246-9975-11A611223671}" type="presParOf" srcId="{6A06CE12-1216-AC42-9A5C-621CCC02BBD1}" destId="{94A869F0-30CF-D640-B12C-809E246B3422}" srcOrd="1" destOrd="0" presId="urn:microsoft.com/office/officeart/2005/8/layout/radial2"/>
    <dgm:cxn modelId="{3FFEB3ED-E830-ED42-9906-A5D6BADBB53E}" type="presParOf" srcId="{87BC167C-550D-B447-98D4-4B5AF9C70636}" destId="{04C42902-138F-5146-B0EF-E4A7A67B20AF}" srcOrd="13" destOrd="0" presId="urn:microsoft.com/office/officeart/2005/8/layout/radial2"/>
    <dgm:cxn modelId="{C093FE51-58FF-0F48-9C2F-28F892A09AA3}" type="presParOf" srcId="{87BC167C-550D-B447-98D4-4B5AF9C70636}" destId="{48BD9299-C1E7-1740-9053-D529905CDA68}" srcOrd="14" destOrd="0" presId="urn:microsoft.com/office/officeart/2005/8/layout/radial2"/>
    <dgm:cxn modelId="{748B9E4F-1459-0E40-9912-CCBC3B07A8B2}" type="presParOf" srcId="{48BD9299-C1E7-1740-9053-D529905CDA68}" destId="{E50670DF-63FF-3249-B8D8-4EA8972CF858}" srcOrd="0" destOrd="0" presId="urn:microsoft.com/office/officeart/2005/8/layout/radial2"/>
    <dgm:cxn modelId="{DC4781F9-8954-CE41-A311-764DF8622F71}" type="presParOf" srcId="{48BD9299-C1E7-1740-9053-D529905CDA68}" destId="{531DE9B0-5F9C-7A45-AE26-38F608B23903}" srcOrd="1" destOrd="0" presId="urn:microsoft.com/office/officeart/2005/8/layout/radial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37BEA74-5977-E542-B55E-7BC499C603CA}" type="doc">
      <dgm:prSet loTypeId="urn:microsoft.com/office/officeart/2005/8/layout/gear1" loCatId="" qsTypeId="urn:microsoft.com/office/officeart/2005/8/quickstyle/simple1" qsCatId="simple" csTypeId="urn:microsoft.com/office/officeart/2005/8/colors/accent1_2" csCatId="accent1" phldr="1"/>
      <dgm:spPr/>
    </dgm:pt>
    <dgm:pt modelId="{6ABF77E0-5E21-BF45-A64A-411B1D7C2E6C}">
      <dgm:prSet phldrT="[Tekst]"/>
      <dgm:spPr>
        <a:solidFill>
          <a:srgbClr val="92D050"/>
        </a:solidFill>
      </dgm:spPr>
      <dgm:t>
        <a:bodyPr/>
        <a:lstStyle/>
        <a:p>
          <a:r>
            <a:rPr lang="nb-NO" dirty="0"/>
            <a:t>INNOVATON AND LEADERSHIP</a:t>
          </a:r>
        </a:p>
      </dgm:t>
    </dgm:pt>
    <dgm:pt modelId="{D1A8B027-EC59-B24D-AF06-2B76A941843F}" type="parTrans" cxnId="{CF348D3F-B554-AD4D-B089-2652B86473F9}">
      <dgm:prSet/>
      <dgm:spPr/>
      <dgm:t>
        <a:bodyPr/>
        <a:lstStyle/>
        <a:p>
          <a:endParaRPr lang="nb-NO"/>
        </a:p>
      </dgm:t>
    </dgm:pt>
    <dgm:pt modelId="{208138DB-8386-F54B-95FD-23529FB1D338}" type="sibTrans" cxnId="{CF348D3F-B554-AD4D-B089-2652B86473F9}">
      <dgm:prSet/>
      <dgm:spPr/>
      <dgm:t>
        <a:bodyPr/>
        <a:lstStyle/>
        <a:p>
          <a:endParaRPr lang="nb-NO"/>
        </a:p>
      </dgm:t>
    </dgm:pt>
    <dgm:pt modelId="{59249903-0E18-6944-975A-3C0F58CA8593}">
      <dgm:prSet phldrT="[Tekst]"/>
      <dgm:spPr>
        <a:solidFill>
          <a:srgbClr val="00B050"/>
        </a:solidFill>
      </dgm:spPr>
      <dgm:t>
        <a:bodyPr/>
        <a:lstStyle/>
        <a:p>
          <a:r>
            <a:rPr lang="nb-NO" dirty="0"/>
            <a:t>SUSTAINABILITY</a:t>
          </a:r>
        </a:p>
      </dgm:t>
    </dgm:pt>
    <dgm:pt modelId="{4D9A44F7-031C-BB46-941C-45A269130EF3}" type="parTrans" cxnId="{64DE146B-61AD-1B48-916C-62B5101EB7A6}">
      <dgm:prSet/>
      <dgm:spPr/>
      <dgm:t>
        <a:bodyPr/>
        <a:lstStyle/>
        <a:p>
          <a:endParaRPr lang="nb-NO"/>
        </a:p>
      </dgm:t>
    </dgm:pt>
    <dgm:pt modelId="{45ED3CC3-1C66-2543-8C9D-AB9DBFE5CCD6}" type="sibTrans" cxnId="{64DE146B-61AD-1B48-916C-62B5101EB7A6}">
      <dgm:prSet/>
      <dgm:spPr/>
      <dgm:t>
        <a:bodyPr/>
        <a:lstStyle/>
        <a:p>
          <a:endParaRPr lang="nb-NO"/>
        </a:p>
      </dgm:t>
    </dgm:pt>
    <dgm:pt modelId="{AD6813FB-501D-B645-9D60-D925183771C6}">
      <dgm:prSet phldrT="[Tekst]"/>
      <dgm:spPr>
        <a:solidFill>
          <a:srgbClr val="009682"/>
        </a:solidFill>
      </dgm:spPr>
      <dgm:t>
        <a:bodyPr/>
        <a:lstStyle/>
        <a:p>
          <a:r>
            <a:rPr lang="nb-NO" dirty="0"/>
            <a:t>HOW TO MAKE BUSINESS OUT OF IT?</a:t>
          </a:r>
        </a:p>
        <a:p>
          <a:r>
            <a:rPr lang="nb-NO" dirty="0"/>
            <a:t> (</a:t>
          </a:r>
          <a:r>
            <a:rPr lang="nb-NO" dirty="0" err="1"/>
            <a:t>Integrate</a:t>
          </a:r>
          <a:r>
            <a:rPr lang="nb-NO" dirty="0"/>
            <a:t> in </a:t>
          </a:r>
          <a:r>
            <a:rPr lang="nb-NO" dirty="0" err="1"/>
            <a:t>excisting</a:t>
          </a:r>
          <a:r>
            <a:rPr lang="nb-NO" dirty="0"/>
            <a:t> programs, </a:t>
          </a:r>
          <a:r>
            <a:rPr lang="nb-NO" dirty="0" err="1"/>
            <a:t>roundtables</a:t>
          </a:r>
          <a:r>
            <a:rPr lang="nb-NO" dirty="0"/>
            <a:t> and/or a </a:t>
          </a:r>
          <a:r>
            <a:rPr lang="nb-NO" dirty="0" err="1"/>
            <a:t>new</a:t>
          </a:r>
          <a:r>
            <a:rPr lang="nb-NO" dirty="0"/>
            <a:t> </a:t>
          </a:r>
          <a:r>
            <a:rPr lang="nb-NO" dirty="0" err="1"/>
            <a:t>executive</a:t>
          </a:r>
          <a:r>
            <a:rPr lang="nb-NO" dirty="0"/>
            <a:t> </a:t>
          </a:r>
          <a:r>
            <a:rPr lang="nb-NO" err="1"/>
            <a:t>program</a:t>
          </a:r>
          <a:r>
            <a:rPr lang="nb-NO"/>
            <a:t>?)</a:t>
          </a:r>
          <a:endParaRPr lang="nb-NO" dirty="0"/>
        </a:p>
      </dgm:t>
    </dgm:pt>
    <dgm:pt modelId="{E7228511-18CE-DD42-B3B8-16ADC12A5E53}" type="parTrans" cxnId="{12A0962E-1E22-0B4A-BAAA-D6A7188B7B8F}">
      <dgm:prSet/>
      <dgm:spPr/>
      <dgm:t>
        <a:bodyPr/>
        <a:lstStyle/>
        <a:p>
          <a:endParaRPr lang="nb-NO"/>
        </a:p>
      </dgm:t>
    </dgm:pt>
    <dgm:pt modelId="{4D7A5A6C-81F9-EE4A-AE90-C6B73C5F7064}" type="sibTrans" cxnId="{12A0962E-1E22-0B4A-BAAA-D6A7188B7B8F}">
      <dgm:prSet/>
      <dgm:spPr/>
      <dgm:t>
        <a:bodyPr/>
        <a:lstStyle/>
        <a:p>
          <a:endParaRPr lang="nb-NO"/>
        </a:p>
      </dgm:t>
    </dgm:pt>
    <dgm:pt modelId="{6BF67F84-1AEA-B54D-A15E-4A37F53731A0}" type="pres">
      <dgm:prSet presAssocID="{E37BEA74-5977-E542-B55E-7BC499C603CA}" presName="composite" presStyleCnt="0">
        <dgm:presLayoutVars>
          <dgm:chMax val="3"/>
          <dgm:animLvl val="lvl"/>
          <dgm:resizeHandles val="exact"/>
        </dgm:presLayoutVars>
      </dgm:prSet>
      <dgm:spPr/>
    </dgm:pt>
    <dgm:pt modelId="{BFEF3DBC-7885-0E4E-9BE2-0A5A24CAE25A}" type="pres">
      <dgm:prSet presAssocID="{AD6813FB-501D-B645-9D60-D925183771C6}" presName="gear1" presStyleLbl="node1" presStyleIdx="0" presStyleCnt="3">
        <dgm:presLayoutVars>
          <dgm:chMax val="1"/>
          <dgm:bulletEnabled val="1"/>
        </dgm:presLayoutVars>
      </dgm:prSet>
      <dgm:spPr/>
    </dgm:pt>
    <dgm:pt modelId="{7ADB83B2-4A52-754E-8464-2D2F747571F0}" type="pres">
      <dgm:prSet presAssocID="{AD6813FB-501D-B645-9D60-D925183771C6}" presName="gear1srcNode" presStyleLbl="node1" presStyleIdx="0" presStyleCnt="3"/>
      <dgm:spPr/>
    </dgm:pt>
    <dgm:pt modelId="{CBBD70D2-B712-674A-9AB5-E59686B567C6}" type="pres">
      <dgm:prSet presAssocID="{AD6813FB-501D-B645-9D60-D925183771C6}" presName="gear1dstNode" presStyleLbl="node1" presStyleIdx="0" presStyleCnt="3"/>
      <dgm:spPr/>
    </dgm:pt>
    <dgm:pt modelId="{748856BE-E406-F34E-BF68-7653F351186C}" type="pres">
      <dgm:prSet presAssocID="{59249903-0E18-6944-975A-3C0F58CA8593}" presName="gear2" presStyleLbl="node1" presStyleIdx="1" presStyleCnt="3">
        <dgm:presLayoutVars>
          <dgm:chMax val="1"/>
          <dgm:bulletEnabled val="1"/>
        </dgm:presLayoutVars>
      </dgm:prSet>
      <dgm:spPr/>
    </dgm:pt>
    <dgm:pt modelId="{456028DC-9DDB-FD43-9E02-E48FD7A8EAD3}" type="pres">
      <dgm:prSet presAssocID="{59249903-0E18-6944-975A-3C0F58CA8593}" presName="gear2srcNode" presStyleLbl="node1" presStyleIdx="1" presStyleCnt="3"/>
      <dgm:spPr/>
    </dgm:pt>
    <dgm:pt modelId="{2DBE1F71-6A70-0F44-BB34-FB532D20276A}" type="pres">
      <dgm:prSet presAssocID="{59249903-0E18-6944-975A-3C0F58CA8593}" presName="gear2dstNode" presStyleLbl="node1" presStyleIdx="1" presStyleCnt="3"/>
      <dgm:spPr/>
    </dgm:pt>
    <dgm:pt modelId="{15EEC3E9-98AD-4544-BC41-6C3EA752698B}" type="pres">
      <dgm:prSet presAssocID="{6ABF77E0-5E21-BF45-A64A-411B1D7C2E6C}" presName="gear3" presStyleLbl="node1" presStyleIdx="2" presStyleCnt="3"/>
      <dgm:spPr/>
    </dgm:pt>
    <dgm:pt modelId="{5F6B0C36-50ED-654D-9282-155DE88D6F24}" type="pres">
      <dgm:prSet presAssocID="{6ABF77E0-5E21-BF45-A64A-411B1D7C2E6C}" presName="gear3tx" presStyleLbl="node1" presStyleIdx="2" presStyleCnt="3">
        <dgm:presLayoutVars>
          <dgm:chMax val="1"/>
          <dgm:bulletEnabled val="1"/>
        </dgm:presLayoutVars>
      </dgm:prSet>
      <dgm:spPr/>
    </dgm:pt>
    <dgm:pt modelId="{9C0D3D1D-1026-E449-8581-3AC3E5A9232D}" type="pres">
      <dgm:prSet presAssocID="{6ABF77E0-5E21-BF45-A64A-411B1D7C2E6C}" presName="gear3srcNode" presStyleLbl="node1" presStyleIdx="2" presStyleCnt="3"/>
      <dgm:spPr/>
    </dgm:pt>
    <dgm:pt modelId="{D8B04F78-8F6D-544D-95C9-4FA7037BDB01}" type="pres">
      <dgm:prSet presAssocID="{6ABF77E0-5E21-BF45-A64A-411B1D7C2E6C}" presName="gear3dstNode" presStyleLbl="node1" presStyleIdx="2" presStyleCnt="3"/>
      <dgm:spPr/>
    </dgm:pt>
    <dgm:pt modelId="{EBF64D2A-9A0A-8E4A-9A3D-D2F90052500C}" type="pres">
      <dgm:prSet presAssocID="{4D7A5A6C-81F9-EE4A-AE90-C6B73C5F7064}" presName="connector1" presStyleLbl="sibTrans2D1" presStyleIdx="0" presStyleCnt="3"/>
      <dgm:spPr/>
    </dgm:pt>
    <dgm:pt modelId="{B053B93E-56C5-AE4C-BF3B-248D12045F51}" type="pres">
      <dgm:prSet presAssocID="{45ED3CC3-1C66-2543-8C9D-AB9DBFE5CCD6}" presName="connector2" presStyleLbl="sibTrans2D1" presStyleIdx="1" presStyleCnt="3"/>
      <dgm:spPr/>
    </dgm:pt>
    <dgm:pt modelId="{E4B27AC3-6D86-4947-B240-1FDD04572B0E}" type="pres">
      <dgm:prSet presAssocID="{208138DB-8386-F54B-95FD-23529FB1D338}" presName="connector3" presStyleLbl="sibTrans2D1" presStyleIdx="2" presStyleCnt="3"/>
      <dgm:spPr/>
    </dgm:pt>
  </dgm:ptLst>
  <dgm:cxnLst>
    <dgm:cxn modelId="{D92A0B18-43F9-3546-BBDA-7E592B3DE487}" type="presOf" srcId="{208138DB-8386-F54B-95FD-23529FB1D338}" destId="{E4B27AC3-6D86-4947-B240-1FDD04572B0E}" srcOrd="0" destOrd="0" presId="urn:microsoft.com/office/officeart/2005/8/layout/gear1"/>
    <dgm:cxn modelId="{12A0962E-1E22-0B4A-BAAA-D6A7188B7B8F}" srcId="{E37BEA74-5977-E542-B55E-7BC499C603CA}" destId="{AD6813FB-501D-B645-9D60-D925183771C6}" srcOrd="0" destOrd="0" parTransId="{E7228511-18CE-DD42-B3B8-16ADC12A5E53}" sibTransId="{4D7A5A6C-81F9-EE4A-AE90-C6B73C5F7064}"/>
    <dgm:cxn modelId="{2305A833-589E-874A-8457-2BCB49014AF4}" type="presOf" srcId="{6ABF77E0-5E21-BF45-A64A-411B1D7C2E6C}" destId="{D8B04F78-8F6D-544D-95C9-4FA7037BDB01}" srcOrd="3" destOrd="0" presId="urn:microsoft.com/office/officeart/2005/8/layout/gear1"/>
    <dgm:cxn modelId="{371F393F-7702-5E46-9C83-3AA428B02DB7}" type="presOf" srcId="{6ABF77E0-5E21-BF45-A64A-411B1D7C2E6C}" destId="{5F6B0C36-50ED-654D-9282-155DE88D6F24}" srcOrd="1" destOrd="0" presId="urn:microsoft.com/office/officeart/2005/8/layout/gear1"/>
    <dgm:cxn modelId="{CF348D3F-B554-AD4D-B089-2652B86473F9}" srcId="{E37BEA74-5977-E542-B55E-7BC499C603CA}" destId="{6ABF77E0-5E21-BF45-A64A-411B1D7C2E6C}" srcOrd="2" destOrd="0" parTransId="{D1A8B027-EC59-B24D-AF06-2B76A941843F}" sibTransId="{208138DB-8386-F54B-95FD-23529FB1D338}"/>
    <dgm:cxn modelId="{8F9BCA4A-418D-F647-8CF8-9F7328815554}" type="presOf" srcId="{59249903-0E18-6944-975A-3C0F58CA8593}" destId="{456028DC-9DDB-FD43-9E02-E48FD7A8EAD3}" srcOrd="1" destOrd="0" presId="urn:microsoft.com/office/officeart/2005/8/layout/gear1"/>
    <dgm:cxn modelId="{44D3224E-AEDE-F043-AA2D-58A843DCD0A2}" type="presOf" srcId="{45ED3CC3-1C66-2543-8C9D-AB9DBFE5CCD6}" destId="{B053B93E-56C5-AE4C-BF3B-248D12045F51}" srcOrd="0" destOrd="0" presId="urn:microsoft.com/office/officeart/2005/8/layout/gear1"/>
    <dgm:cxn modelId="{64DE146B-61AD-1B48-916C-62B5101EB7A6}" srcId="{E37BEA74-5977-E542-B55E-7BC499C603CA}" destId="{59249903-0E18-6944-975A-3C0F58CA8593}" srcOrd="1" destOrd="0" parTransId="{4D9A44F7-031C-BB46-941C-45A269130EF3}" sibTransId="{45ED3CC3-1C66-2543-8C9D-AB9DBFE5CCD6}"/>
    <dgm:cxn modelId="{18A70F6F-9C58-8D4F-8063-837B1ACB886E}" type="presOf" srcId="{6ABF77E0-5E21-BF45-A64A-411B1D7C2E6C}" destId="{15EEC3E9-98AD-4544-BC41-6C3EA752698B}" srcOrd="0" destOrd="0" presId="urn:microsoft.com/office/officeart/2005/8/layout/gear1"/>
    <dgm:cxn modelId="{1A4AF091-4578-314A-932F-5AD5510D1AFD}" type="presOf" srcId="{59249903-0E18-6944-975A-3C0F58CA8593}" destId="{2DBE1F71-6A70-0F44-BB34-FB532D20276A}" srcOrd="2" destOrd="0" presId="urn:microsoft.com/office/officeart/2005/8/layout/gear1"/>
    <dgm:cxn modelId="{7F698598-0D43-F14C-B2D6-94D185BA37AD}" type="presOf" srcId="{AD6813FB-501D-B645-9D60-D925183771C6}" destId="{7ADB83B2-4A52-754E-8464-2D2F747571F0}" srcOrd="1" destOrd="0" presId="urn:microsoft.com/office/officeart/2005/8/layout/gear1"/>
    <dgm:cxn modelId="{6212E49F-6D39-0643-8CE7-45D1D557F95C}" type="presOf" srcId="{4D7A5A6C-81F9-EE4A-AE90-C6B73C5F7064}" destId="{EBF64D2A-9A0A-8E4A-9A3D-D2F90052500C}" srcOrd="0" destOrd="0" presId="urn:microsoft.com/office/officeart/2005/8/layout/gear1"/>
    <dgm:cxn modelId="{9ABF70CE-AFEB-3F41-A91C-557914098400}" type="presOf" srcId="{59249903-0E18-6944-975A-3C0F58CA8593}" destId="{748856BE-E406-F34E-BF68-7653F351186C}" srcOrd="0" destOrd="0" presId="urn:microsoft.com/office/officeart/2005/8/layout/gear1"/>
    <dgm:cxn modelId="{7BD4D2CF-F46F-A94A-A25F-F6BBE4ACB5B7}" type="presOf" srcId="{E37BEA74-5977-E542-B55E-7BC499C603CA}" destId="{6BF67F84-1AEA-B54D-A15E-4A37F53731A0}" srcOrd="0" destOrd="0" presId="urn:microsoft.com/office/officeart/2005/8/layout/gear1"/>
    <dgm:cxn modelId="{0402D1D8-B77B-3E47-8656-F5945CFAEEBA}" type="presOf" srcId="{AD6813FB-501D-B645-9D60-D925183771C6}" destId="{BFEF3DBC-7885-0E4E-9BE2-0A5A24CAE25A}" srcOrd="0" destOrd="0" presId="urn:microsoft.com/office/officeart/2005/8/layout/gear1"/>
    <dgm:cxn modelId="{9C41F5F3-19BB-8B48-AA9D-29609742955A}" type="presOf" srcId="{6ABF77E0-5E21-BF45-A64A-411B1D7C2E6C}" destId="{9C0D3D1D-1026-E449-8581-3AC3E5A9232D}" srcOrd="2" destOrd="0" presId="urn:microsoft.com/office/officeart/2005/8/layout/gear1"/>
    <dgm:cxn modelId="{96788FFA-EA8F-8D4F-AB85-D9C9B95525C4}" type="presOf" srcId="{AD6813FB-501D-B645-9D60-D925183771C6}" destId="{CBBD70D2-B712-674A-9AB5-E59686B567C6}" srcOrd="2" destOrd="0" presId="urn:microsoft.com/office/officeart/2005/8/layout/gear1"/>
    <dgm:cxn modelId="{428D2C67-497A-0D40-A736-570377EFC09D}" type="presParOf" srcId="{6BF67F84-1AEA-B54D-A15E-4A37F53731A0}" destId="{BFEF3DBC-7885-0E4E-9BE2-0A5A24CAE25A}" srcOrd="0" destOrd="0" presId="urn:microsoft.com/office/officeart/2005/8/layout/gear1"/>
    <dgm:cxn modelId="{88E13B51-A12E-5D4D-B9CA-960B6EEE335D}" type="presParOf" srcId="{6BF67F84-1AEA-B54D-A15E-4A37F53731A0}" destId="{7ADB83B2-4A52-754E-8464-2D2F747571F0}" srcOrd="1" destOrd="0" presId="urn:microsoft.com/office/officeart/2005/8/layout/gear1"/>
    <dgm:cxn modelId="{9AFA3EBD-A7FD-6E46-987A-243880C691FC}" type="presParOf" srcId="{6BF67F84-1AEA-B54D-A15E-4A37F53731A0}" destId="{CBBD70D2-B712-674A-9AB5-E59686B567C6}" srcOrd="2" destOrd="0" presId="urn:microsoft.com/office/officeart/2005/8/layout/gear1"/>
    <dgm:cxn modelId="{3C1066C0-97AB-0442-8691-3CADD78AD015}" type="presParOf" srcId="{6BF67F84-1AEA-B54D-A15E-4A37F53731A0}" destId="{748856BE-E406-F34E-BF68-7653F351186C}" srcOrd="3" destOrd="0" presId="urn:microsoft.com/office/officeart/2005/8/layout/gear1"/>
    <dgm:cxn modelId="{E8A39AA3-9014-8647-A433-5F43318D2E8A}" type="presParOf" srcId="{6BF67F84-1AEA-B54D-A15E-4A37F53731A0}" destId="{456028DC-9DDB-FD43-9E02-E48FD7A8EAD3}" srcOrd="4" destOrd="0" presId="urn:microsoft.com/office/officeart/2005/8/layout/gear1"/>
    <dgm:cxn modelId="{40DEA530-70DD-A445-9F52-7234D15DE021}" type="presParOf" srcId="{6BF67F84-1AEA-B54D-A15E-4A37F53731A0}" destId="{2DBE1F71-6A70-0F44-BB34-FB532D20276A}" srcOrd="5" destOrd="0" presId="urn:microsoft.com/office/officeart/2005/8/layout/gear1"/>
    <dgm:cxn modelId="{B8F7EE98-9629-C042-80B6-82B6BE4303A8}" type="presParOf" srcId="{6BF67F84-1AEA-B54D-A15E-4A37F53731A0}" destId="{15EEC3E9-98AD-4544-BC41-6C3EA752698B}" srcOrd="6" destOrd="0" presId="urn:microsoft.com/office/officeart/2005/8/layout/gear1"/>
    <dgm:cxn modelId="{A1B535FD-0EDD-6E47-A06D-FE0D456E2C40}" type="presParOf" srcId="{6BF67F84-1AEA-B54D-A15E-4A37F53731A0}" destId="{5F6B0C36-50ED-654D-9282-155DE88D6F24}" srcOrd="7" destOrd="0" presId="urn:microsoft.com/office/officeart/2005/8/layout/gear1"/>
    <dgm:cxn modelId="{4DDDD6E8-EFF7-3B4B-B9AD-142E987727C9}" type="presParOf" srcId="{6BF67F84-1AEA-B54D-A15E-4A37F53731A0}" destId="{9C0D3D1D-1026-E449-8581-3AC3E5A9232D}" srcOrd="8" destOrd="0" presId="urn:microsoft.com/office/officeart/2005/8/layout/gear1"/>
    <dgm:cxn modelId="{DFEE7E71-5656-A041-B3C2-B09ABE7E9CAB}" type="presParOf" srcId="{6BF67F84-1AEA-B54D-A15E-4A37F53731A0}" destId="{D8B04F78-8F6D-544D-95C9-4FA7037BDB01}" srcOrd="9" destOrd="0" presId="urn:microsoft.com/office/officeart/2005/8/layout/gear1"/>
    <dgm:cxn modelId="{B95E0466-3A1A-A34A-8D13-009DD1FD9F7B}" type="presParOf" srcId="{6BF67F84-1AEA-B54D-A15E-4A37F53731A0}" destId="{EBF64D2A-9A0A-8E4A-9A3D-D2F90052500C}" srcOrd="10" destOrd="0" presId="urn:microsoft.com/office/officeart/2005/8/layout/gear1"/>
    <dgm:cxn modelId="{6A963ECE-B809-5A4C-BC30-6F5875361CC2}" type="presParOf" srcId="{6BF67F84-1AEA-B54D-A15E-4A37F53731A0}" destId="{B053B93E-56C5-AE4C-BF3B-248D12045F51}" srcOrd="11" destOrd="0" presId="urn:microsoft.com/office/officeart/2005/8/layout/gear1"/>
    <dgm:cxn modelId="{AD5C7524-353B-1346-B5F6-43990D4CACB3}" type="presParOf" srcId="{6BF67F84-1AEA-B54D-A15E-4A37F53731A0}" destId="{E4B27AC3-6D86-4947-B240-1FDD04572B0E}"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37BEA74-5977-E542-B55E-7BC499C603CA}" type="doc">
      <dgm:prSet loTypeId="urn:microsoft.com/office/officeart/2005/8/layout/gear1" loCatId="" qsTypeId="urn:microsoft.com/office/officeart/2005/8/quickstyle/simple1" qsCatId="simple" csTypeId="urn:microsoft.com/office/officeart/2005/8/colors/accent1_2" csCatId="accent1" phldr="1"/>
      <dgm:spPr/>
      <dgm:t>
        <a:bodyPr/>
        <a:lstStyle/>
        <a:p>
          <a:endParaRPr lang="en-GB"/>
        </a:p>
      </dgm:t>
    </dgm:pt>
    <dgm:pt modelId="{AD6813FB-501D-B645-9D60-D925183771C6}">
      <dgm:prSet phldrT="[Tekst]"/>
      <dgm:spPr>
        <a:solidFill>
          <a:srgbClr val="009682"/>
        </a:solidFill>
      </dgm:spPr>
      <dgm:t>
        <a:bodyPr/>
        <a:lstStyle/>
        <a:p>
          <a:r>
            <a:rPr lang="nb-NO" dirty="0"/>
            <a:t>HOW TO MAKE BUSINESS OUT OF IT?</a:t>
          </a:r>
        </a:p>
        <a:p>
          <a:r>
            <a:rPr lang="nb-NO" dirty="0"/>
            <a:t> (</a:t>
          </a:r>
          <a:r>
            <a:rPr lang="nb-NO" dirty="0" err="1"/>
            <a:t>Integrate</a:t>
          </a:r>
          <a:r>
            <a:rPr lang="nb-NO" dirty="0"/>
            <a:t> in </a:t>
          </a:r>
          <a:r>
            <a:rPr lang="nb-NO" dirty="0" err="1"/>
            <a:t>excisting</a:t>
          </a:r>
          <a:r>
            <a:rPr lang="nb-NO" dirty="0"/>
            <a:t> programs, </a:t>
          </a:r>
          <a:r>
            <a:rPr lang="nb-NO" dirty="0" err="1"/>
            <a:t>roundtables</a:t>
          </a:r>
          <a:r>
            <a:rPr lang="nb-NO" dirty="0"/>
            <a:t> and/or a </a:t>
          </a:r>
          <a:r>
            <a:rPr lang="nb-NO" dirty="0" err="1"/>
            <a:t>new</a:t>
          </a:r>
          <a:r>
            <a:rPr lang="nb-NO" dirty="0"/>
            <a:t> </a:t>
          </a:r>
          <a:r>
            <a:rPr lang="nb-NO" dirty="0" err="1"/>
            <a:t>executive</a:t>
          </a:r>
          <a:r>
            <a:rPr lang="nb-NO" dirty="0"/>
            <a:t> program?)</a:t>
          </a:r>
        </a:p>
      </dgm:t>
    </dgm:pt>
    <dgm:pt modelId="{4D7A5A6C-81F9-EE4A-AE90-C6B73C5F7064}" type="sibTrans" cxnId="{12A0962E-1E22-0B4A-BAAA-D6A7188B7B8F}">
      <dgm:prSet/>
      <dgm:spPr/>
      <dgm:t>
        <a:bodyPr/>
        <a:lstStyle/>
        <a:p>
          <a:endParaRPr lang="nb-NO"/>
        </a:p>
      </dgm:t>
    </dgm:pt>
    <dgm:pt modelId="{E7228511-18CE-DD42-B3B8-16ADC12A5E53}" type="parTrans" cxnId="{12A0962E-1E22-0B4A-BAAA-D6A7188B7B8F}">
      <dgm:prSet/>
      <dgm:spPr/>
      <dgm:t>
        <a:bodyPr/>
        <a:lstStyle/>
        <a:p>
          <a:endParaRPr lang="nb-NO"/>
        </a:p>
      </dgm:t>
    </dgm:pt>
    <dgm:pt modelId="{6BF67F84-1AEA-B54D-A15E-4A37F53731A0}" type="pres">
      <dgm:prSet presAssocID="{E37BEA74-5977-E542-B55E-7BC499C603CA}" presName="composite" presStyleCnt="0">
        <dgm:presLayoutVars>
          <dgm:chMax val="3"/>
          <dgm:animLvl val="lvl"/>
          <dgm:resizeHandles val="exact"/>
        </dgm:presLayoutVars>
      </dgm:prSet>
      <dgm:spPr/>
    </dgm:pt>
    <dgm:pt modelId="{BFEF3DBC-7885-0E4E-9BE2-0A5A24CAE25A}" type="pres">
      <dgm:prSet presAssocID="{AD6813FB-501D-B645-9D60-D925183771C6}" presName="gear1" presStyleLbl="node1" presStyleIdx="0" presStyleCnt="1" custScaleX="141839" custScaleY="141573" custLinFactNeighborY="4106">
        <dgm:presLayoutVars>
          <dgm:chMax val="1"/>
          <dgm:bulletEnabled val="1"/>
        </dgm:presLayoutVars>
      </dgm:prSet>
      <dgm:spPr/>
    </dgm:pt>
    <dgm:pt modelId="{7ADB83B2-4A52-754E-8464-2D2F747571F0}" type="pres">
      <dgm:prSet presAssocID="{AD6813FB-501D-B645-9D60-D925183771C6}" presName="gear1srcNode" presStyleLbl="node1" presStyleIdx="0" presStyleCnt="1"/>
      <dgm:spPr/>
    </dgm:pt>
    <dgm:pt modelId="{CBBD70D2-B712-674A-9AB5-E59686B567C6}" type="pres">
      <dgm:prSet presAssocID="{AD6813FB-501D-B645-9D60-D925183771C6}" presName="gear1dstNode" presStyleLbl="node1" presStyleIdx="0" presStyleCnt="1"/>
      <dgm:spPr/>
    </dgm:pt>
    <dgm:pt modelId="{EBF64D2A-9A0A-8E4A-9A3D-D2F90052500C}" type="pres">
      <dgm:prSet presAssocID="{4D7A5A6C-81F9-EE4A-AE90-C6B73C5F7064}" presName="connector1" presStyleLbl="sibTrans2D1" presStyleIdx="0" presStyleCnt="1" custScaleX="136273" custScaleY="136784" custLinFactNeighborY="1188"/>
      <dgm:spPr/>
    </dgm:pt>
  </dgm:ptLst>
  <dgm:cxnLst>
    <dgm:cxn modelId="{12A0962E-1E22-0B4A-BAAA-D6A7188B7B8F}" srcId="{E37BEA74-5977-E542-B55E-7BC499C603CA}" destId="{AD6813FB-501D-B645-9D60-D925183771C6}" srcOrd="0" destOrd="0" parTransId="{E7228511-18CE-DD42-B3B8-16ADC12A5E53}" sibTransId="{4D7A5A6C-81F9-EE4A-AE90-C6B73C5F7064}"/>
    <dgm:cxn modelId="{7F698598-0D43-F14C-B2D6-94D185BA37AD}" type="presOf" srcId="{AD6813FB-501D-B645-9D60-D925183771C6}" destId="{7ADB83B2-4A52-754E-8464-2D2F747571F0}" srcOrd="1" destOrd="0" presId="urn:microsoft.com/office/officeart/2005/8/layout/gear1"/>
    <dgm:cxn modelId="{6212E49F-6D39-0643-8CE7-45D1D557F95C}" type="presOf" srcId="{4D7A5A6C-81F9-EE4A-AE90-C6B73C5F7064}" destId="{EBF64D2A-9A0A-8E4A-9A3D-D2F90052500C}" srcOrd="0" destOrd="0" presId="urn:microsoft.com/office/officeart/2005/8/layout/gear1"/>
    <dgm:cxn modelId="{7BD4D2CF-F46F-A94A-A25F-F6BBE4ACB5B7}" type="presOf" srcId="{E37BEA74-5977-E542-B55E-7BC499C603CA}" destId="{6BF67F84-1AEA-B54D-A15E-4A37F53731A0}" srcOrd="0" destOrd="0" presId="urn:microsoft.com/office/officeart/2005/8/layout/gear1"/>
    <dgm:cxn modelId="{0402D1D8-B77B-3E47-8656-F5945CFAEEBA}" type="presOf" srcId="{AD6813FB-501D-B645-9D60-D925183771C6}" destId="{BFEF3DBC-7885-0E4E-9BE2-0A5A24CAE25A}" srcOrd="0" destOrd="0" presId="urn:microsoft.com/office/officeart/2005/8/layout/gear1"/>
    <dgm:cxn modelId="{96788FFA-EA8F-8D4F-AB85-D9C9B95525C4}" type="presOf" srcId="{AD6813FB-501D-B645-9D60-D925183771C6}" destId="{CBBD70D2-B712-674A-9AB5-E59686B567C6}" srcOrd="2" destOrd="0" presId="urn:microsoft.com/office/officeart/2005/8/layout/gear1"/>
    <dgm:cxn modelId="{428D2C67-497A-0D40-A736-570377EFC09D}" type="presParOf" srcId="{6BF67F84-1AEA-B54D-A15E-4A37F53731A0}" destId="{BFEF3DBC-7885-0E4E-9BE2-0A5A24CAE25A}" srcOrd="0" destOrd="0" presId="urn:microsoft.com/office/officeart/2005/8/layout/gear1"/>
    <dgm:cxn modelId="{88E13B51-A12E-5D4D-B9CA-960B6EEE335D}" type="presParOf" srcId="{6BF67F84-1AEA-B54D-A15E-4A37F53731A0}" destId="{7ADB83B2-4A52-754E-8464-2D2F747571F0}" srcOrd="1" destOrd="0" presId="urn:microsoft.com/office/officeart/2005/8/layout/gear1"/>
    <dgm:cxn modelId="{9AFA3EBD-A7FD-6E46-987A-243880C691FC}" type="presParOf" srcId="{6BF67F84-1AEA-B54D-A15E-4A37F53731A0}" destId="{CBBD70D2-B712-674A-9AB5-E59686B567C6}" srcOrd="2" destOrd="0" presId="urn:microsoft.com/office/officeart/2005/8/layout/gear1"/>
    <dgm:cxn modelId="{B95E0466-3A1A-A34A-8D13-009DD1FD9F7B}" type="presParOf" srcId="{6BF67F84-1AEA-B54D-A15E-4A37F53731A0}" destId="{EBF64D2A-9A0A-8E4A-9A3D-D2F90052500C}" srcOrd="3"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40436BB-D824-BF49-88D1-3664913DD548}" type="doc">
      <dgm:prSet loTypeId="urn:microsoft.com/office/officeart/2005/8/layout/cycle2" loCatId="" qsTypeId="urn:microsoft.com/office/officeart/2005/8/quickstyle/simple1" qsCatId="simple" csTypeId="urn:microsoft.com/office/officeart/2005/8/colors/colorful1" csCatId="colorful" phldr="1"/>
      <dgm:spPr/>
      <dgm:t>
        <a:bodyPr/>
        <a:lstStyle/>
        <a:p>
          <a:endParaRPr lang="en-GB"/>
        </a:p>
      </dgm:t>
    </dgm:pt>
    <dgm:pt modelId="{AAAB8B7A-7FBC-104E-8EC1-3B16F1BD55D8}">
      <dgm:prSet phldrT="[Text]"/>
      <dgm:spPr>
        <a:solidFill>
          <a:schemeClr val="accent2"/>
        </a:solidFill>
      </dgm:spPr>
      <dgm:t>
        <a:bodyPr/>
        <a:lstStyle/>
        <a:p>
          <a:r>
            <a:rPr lang="en-GB"/>
            <a:t>THE LEADER, LEADERSHIP AND PEOPLE</a:t>
          </a:r>
          <a:endParaRPr lang="en-GB" dirty="0"/>
        </a:p>
      </dgm:t>
    </dgm:pt>
    <dgm:pt modelId="{B76E81B1-9D9C-FD43-A93F-AF92019179B1}" type="parTrans" cxnId="{F9420BC3-4097-5146-84F3-C9B3F37E9F0E}">
      <dgm:prSet/>
      <dgm:spPr/>
      <dgm:t>
        <a:bodyPr/>
        <a:lstStyle/>
        <a:p>
          <a:endParaRPr lang="en-GB"/>
        </a:p>
      </dgm:t>
    </dgm:pt>
    <dgm:pt modelId="{05A131EF-4348-904A-AD00-BFE2E6A5D472}" type="sibTrans" cxnId="{F9420BC3-4097-5146-84F3-C9B3F37E9F0E}">
      <dgm:prSet/>
      <dgm:spPr/>
      <dgm:t>
        <a:bodyPr/>
        <a:lstStyle/>
        <a:p>
          <a:endParaRPr lang="en-GB"/>
        </a:p>
      </dgm:t>
    </dgm:pt>
    <dgm:pt modelId="{DD67C831-4BB6-EC4C-8A58-A1C2B73A398E}">
      <dgm:prSet phldrT="[Text]"/>
      <dgm:spPr>
        <a:solidFill>
          <a:srgbClr val="FF0000"/>
        </a:solidFill>
      </dgm:spPr>
      <dgm:t>
        <a:bodyPr/>
        <a:lstStyle/>
        <a:p>
          <a:r>
            <a:rPr lang="en-GB" dirty="0"/>
            <a:t>ENERGY, CLIMATE AND SUSTAINABILITY</a:t>
          </a:r>
        </a:p>
      </dgm:t>
    </dgm:pt>
    <dgm:pt modelId="{BC4DE497-48DC-D84B-B380-60FE93E71A60}" type="parTrans" cxnId="{0FA542FF-2E36-F844-AF68-D92C426600E0}">
      <dgm:prSet/>
      <dgm:spPr/>
      <dgm:t>
        <a:bodyPr/>
        <a:lstStyle/>
        <a:p>
          <a:endParaRPr lang="en-GB"/>
        </a:p>
      </dgm:t>
    </dgm:pt>
    <dgm:pt modelId="{0508281E-ABDF-2E4E-A9E1-0C44D6013757}" type="sibTrans" cxnId="{0FA542FF-2E36-F844-AF68-D92C426600E0}">
      <dgm:prSet/>
      <dgm:spPr/>
      <dgm:t>
        <a:bodyPr/>
        <a:lstStyle/>
        <a:p>
          <a:endParaRPr lang="en-GB"/>
        </a:p>
      </dgm:t>
    </dgm:pt>
    <dgm:pt modelId="{32995932-4424-9343-BB92-49B5BED414C8}">
      <dgm:prSet phldrT="[Text]"/>
      <dgm:spPr>
        <a:solidFill>
          <a:srgbClr val="00B050"/>
        </a:solidFill>
      </dgm:spPr>
      <dgm:t>
        <a:bodyPr/>
        <a:lstStyle/>
        <a:p>
          <a:r>
            <a:rPr lang="en-GB" dirty="0"/>
            <a:t>INNOVATION AND BUSINESS DEVELOPMENT </a:t>
          </a:r>
        </a:p>
      </dgm:t>
    </dgm:pt>
    <dgm:pt modelId="{DF3C6D88-0E09-EF48-9E61-3ACD4B139765}" type="parTrans" cxnId="{B27AB04F-C942-4B4D-9DFC-0F7992C73E90}">
      <dgm:prSet/>
      <dgm:spPr/>
      <dgm:t>
        <a:bodyPr/>
        <a:lstStyle/>
        <a:p>
          <a:endParaRPr lang="en-GB"/>
        </a:p>
      </dgm:t>
    </dgm:pt>
    <dgm:pt modelId="{AC503B57-FA9F-1D42-BEA2-189DA0AA8C6F}" type="sibTrans" cxnId="{B27AB04F-C942-4B4D-9DFC-0F7992C73E90}">
      <dgm:prSet/>
      <dgm:spPr/>
      <dgm:t>
        <a:bodyPr/>
        <a:lstStyle/>
        <a:p>
          <a:endParaRPr lang="en-GB"/>
        </a:p>
      </dgm:t>
    </dgm:pt>
    <dgm:pt modelId="{02FF68CA-CDAB-5940-81B1-2934E1493F34}">
      <dgm:prSet phldrT="[Text]"/>
      <dgm:spPr>
        <a:solidFill>
          <a:srgbClr val="0070C0"/>
        </a:solidFill>
      </dgm:spPr>
      <dgm:t>
        <a:bodyPr/>
        <a:lstStyle/>
        <a:p>
          <a:r>
            <a:rPr lang="en-GB" dirty="0"/>
            <a:t>STRATEGY IN THE DIGITAL WORLD</a:t>
          </a:r>
        </a:p>
      </dgm:t>
    </dgm:pt>
    <dgm:pt modelId="{24370096-993A-B746-A0B0-F25121B52241}" type="sibTrans" cxnId="{C8AE8F95-3641-9246-98AC-42B882F8B209}">
      <dgm:prSet/>
      <dgm:spPr/>
      <dgm:t>
        <a:bodyPr/>
        <a:lstStyle/>
        <a:p>
          <a:endParaRPr lang="en-GB"/>
        </a:p>
      </dgm:t>
    </dgm:pt>
    <dgm:pt modelId="{6A8416AE-75BC-7A40-AB04-72F00EFD4D5A}" type="parTrans" cxnId="{C8AE8F95-3641-9246-98AC-42B882F8B209}">
      <dgm:prSet/>
      <dgm:spPr/>
      <dgm:t>
        <a:bodyPr/>
        <a:lstStyle/>
        <a:p>
          <a:endParaRPr lang="en-GB"/>
        </a:p>
      </dgm:t>
    </dgm:pt>
    <dgm:pt modelId="{796818EF-F9A4-2848-9706-7C0C4AA1B05D}" type="pres">
      <dgm:prSet presAssocID="{640436BB-D824-BF49-88D1-3664913DD548}" presName="cycle" presStyleCnt="0">
        <dgm:presLayoutVars>
          <dgm:dir/>
          <dgm:resizeHandles val="exact"/>
        </dgm:presLayoutVars>
      </dgm:prSet>
      <dgm:spPr/>
    </dgm:pt>
    <dgm:pt modelId="{3BC5FF11-5D59-C44B-BC1B-A6AEA048F8A1}" type="pres">
      <dgm:prSet presAssocID="{AAAB8B7A-7FBC-104E-8EC1-3B16F1BD55D8}" presName="node" presStyleLbl="node1" presStyleIdx="0" presStyleCnt="4">
        <dgm:presLayoutVars>
          <dgm:bulletEnabled val="1"/>
        </dgm:presLayoutVars>
      </dgm:prSet>
      <dgm:spPr/>
    </dgm:pt>
    <dgm:pt modelId="{D11C08CD-A643-5248-9C6B-394D29F3C516}" type="pres">
      <dgm:prSet presAssocID="{05A131EF-4348-904A-AD00-BFE2E6A5D472}" presName="sibTrans" presStyleLbl="sibTrans2D1" presStyleIdx="0" presStyleCnt="4"/>
      <dgm:spPr/>
    </dgm:pt>
    <dgm:pt modelId="{47449991-3193-4944-A10F-4C45EBCA4120}" type="pres">
      <dgm:prSet presAssocID="{05A131EF-4348-904A-AD00-BFE2E6A5D472}" presName="connectorText" presStyleLbl="sibTrans2D1" presStyleIdx="0" presStyleCnt="4"/>
      <dgm:spPr/>
    </dgm:pt>
    <dgm:pt modelId="{275EC80F-C382-E641-B02F-E173441EA52A}" type="pres">
      <dgm:prSet presAssocID="{02FF68CA-CDAB-5940-81B1-2934E1493F34}" presName="node" presStyleLbl="node1" presStyleIdx="1" presStyleCnt="4">
        <dgm:presLayoutVars>
          <dgm:bulletEnabled val="1"/>
        </dgm:presLayoutVars>
      </dgm:prSet>
      <dgm:spPr/>
    </dgm:pt>
    <dgm:pt modelId="{DE7E7548-A5E1-D84F-938E-8ECC7D288526}" type="pres">
      <dgm:prSet presAssocID="{24370096-993A-B746-A0B0-F25121B52241}" presName="sibTrans" presStyleLbl="sibTrans2D1" presStyleIdx="1" presStyleCnt="4"/>
      <dgm:spPr/>
    </dgm:pt>
    <dgm:pt modelId="{89CA9190-2230-1248-8FAF-C113DE0B754D}" type="pres">
      <dgm:prSet presAssocID="{24370096-993A-B746-A0B0-F25121B52241}" presName="connectorText" presStyleLbl="sibTrans2D1" presStyleIdx="1" presStyleCnt="4"/>
      <dgm:spPr/>
    </dgm:pt>
    <dgm:pt modelId="{47EB48FA-D3D7-7D43-8693-2C486C79FF79}" type="pres">
      <dgm:prSet presAssocID="{32995932-4424-9343-BB92-49B5BED414C8}" presName="node" presStyleLbl="node1" presStyleIdx="2" presStyleCnt="4">
        <dgm:presLayoutVars>
          <dgm:bulletEnabled val="1"/>
        </dgm:presLayoutVars>
      </dgm:prSet>
      <dgm:spPr/>
    </dgm:pt>
    <dgm:pt modelId="{A3DB440F-8547-3141-9AB6-D03AA03A1119}" type="pres">
      <dgm:prSet presAssocID="{AC503B57-FA9F-1D42-BEA2-189DA0AA8C6F}" presName="sibTrans" presStyleLbl="sibTrans2D1" presStyleIdx="2" presStyleCnt="4"/>
      <dgm:spPr/>
    </dgm:pt>
    <dgm:pt modelId="{581BCB2C-E1FB-4D42-B1E6-BACDE537086E}" type="pres">
      <dgm:prSet presAssocID="{AC503B57-FA9F-1D42-BEA2-189DA0AA8C6F}" presName="connectorText" presStyleLbl="sibTrans2D1" presStyleIdx="2" presStyleCnt="4"/>
      <dgm:spPr/>
    </dgm:pt>
    <dgm:pt modelId="{3A073B0E-D57E-7E41-A4F9-5F7FDBDC883A}" type="pres">
      <dgm:prSet presAssocID="{DD67C831-4BB6-EC4C-8A58-A1C2B73A398E}" presName="node" presStyleLbl="node1" presStyleIdx="3" presStyleCnt="4">
        <dgm:presLayoutVars>
          <dgm:bulletEnabled val="1"/>
        </dgm:presLayoutVars>
      </dgm:prSet>
      <dgm:spPr/>
    </dgm:pt>
    <dgm:pt modelId="{9C4B1355-3D83-5246-B0BB-CEC8F61F1246}" type="pres">
      <dgm:prSet presAssocID="{0508281E-ABDF-2E4E-A9E1-0C44D6013757}" presName="sibTrans" presStyleLbl="sibTrans2D1" presStyleIdx="3" presStyleCnt="4"/>
      <dgm:spPr/>
    </dgm:pt>
    <dgm:pt modelId="{68503487-B0DF-1944-894F-6C47622CFE8D}" type="pres">
      <dgm:prSet presAssocID="{0508281E-ABDF-2E4E-A9E1-0C44D6013757}" presName="connectorText" presStyleLbl="sibTrans2D1" presStyleIdx="3" presStyleCnt="4"/>
      <dgm:spPr/>
    </dgm:pt>
  </dgm:ptLst>
  <dgm:cxnLst>
    <dgm:cxn modelId="{0BEBB00E-1953-4C42-8A17-4A9FDC6417B4}" type="presOf" srcId="{AC503B57-FA9F-1D42-BEA2-189DA0AA8C6F}" destId="{A3DB440F-8547-3141-9AB6-D03AA03A1119}" srcOrd="0" destOrd="0" presId="urn:microsoft.com/office/officeart/2005/8/layout/cycle2"/>
    <dgm:cxn modelId="{D86A9224-17BE-6D41-9212-964CD8981957}" type="presOf" srcId="{05A131EF-4348-904A-AD00-BFE2E6A5D472}" destId="{D11C08CD-A643-5248-9C6B-394D29F3C516}" srcOrd="0" destOrd="0" presId="urn:microsoft.com/office/officeart/2005/8/layout/cycle2"/>
    <dgm:cxn modelId="{6D4B6D27-5F47-3F4C-ABD0-0D59E97F7952}" type="presOf" srcId="{02FF68CA-CDAB-5940-81B1-2934E1493F34}" destId="{275EC80F-C382-E641-B02F-E173441EA52A}" srcOrd="0" destOrd="0" presId="urn:microsoft.com/office/officeart/2005/8/layout/cycle2"/>
    <dgm:cxn modelId="{B9463B2D-5CBD-904C-BFF1-7EDB9385D122}" type="presOf" srcId="{24370096-993A-B746-A0B0-F25121B52241}" destId="{DE7E7548-A5E1-D84F-938E-8ECC7D288526}" srcOrd="0" destOrd="0" presId="urn:microsoft.com/office/officeart/2005/8/layout/cycle2"/>
    <dgm:cxn modelId="{300EBF3B-DB31-4245-95EB-58064210A8D4}" type="presOf" srcId="{AAAB8B7A-7FBC-104E-8EC1-3B16F1BD55D8}" destId="{3BC5FF11-5D59-C44B-BC1B-A6AEA048F8A1}" srcOrd="0" destOrd="0" presId="urn:microsoft.com/office/officeart/2005/8/layout/cycle2"/>
    <dgm:cxn modelId="{C1FD724A-9375-A94E-8211-A394C9658808}" type="presOf" srcId="{640436BB-D824-BF49-88D1-3664913DD548}" destId="{796818EF-F9A4-2848-9706-7C0C4AA1B05D}" srcOrd="0" destOrd="0" presId="urn:microsoft.com/office/officeart/2005/8/layout/cycle2"/>
    <dgm:cxn modelId="{B27AB04F-C942-4B4D-9DFC-0F7992C73E90}" srcId="{640436BB-D824-BF49-88D1-3664913DD548}" destId="{32995932-4424-9343-BB92-49B5BED414C8}" srcOrd="2" destOrd="0" parTransId="{DF3C6D88-0E09-EF48-9E61-3ACD4B139765}" sibTransId="{AC503B57-FA9F-1D42-BEA2-189DA0AA8C6F}"/>
    <dgm:cxn modelId="{C9B40258-0CC5-D04E-88C7-039AD66C3681}" type="presOf" srcId="{32995932-4424-9343-BB92-49B5BED414C8}" destId="{47EB48FA-D3D7-7D43-8693-2C486C79FF79}" srcOrd="0" destOrd="0" presId="urn:microsoft.com/office/officeart/2005/8/layout/cycle2"/>
    <dgm:cxn modelId="{B489445F-F8A2-BF45-BF37-D4BBF7D8FEB9}" type="presOf" srcId="{DD67C831-4BB6-EC4C-8A58-A1C2B73A398E}" destId="{3A073B0E-D57E-7E41-A4F9-5F7FDBDC883A}" srcOrd="0" destOrd="0" presId="urn:microsoft.com/office/officeart/2005/8/layout/cycle2"/>
    <dgm:cxn modelId="{8BCFC16D-80EA-484A-9921-AAC419F69B60}" type="presOf" srcId="{0508281E-ABDF-2E4E-A9E1-0C44D6013757}" destId="{9C4B1355-3D83-5246-B0BB-CEC8F61F1246}" srcOrd="0" destOrd="0" presId="urn:microsoft.com/office/officeart/2005/8/layout/cycle2"/>
    <dgm:cxn modelId="{CEDBD091-65E2-9D41-9A28-998EE117A9E1}" type="presOf" srcId="{05A131EF-4348-904A-AD00-BFE2E6A5D472}" destId="{47449991-3193-4944-A10F-4C45EBCA4120}" srcOrd="1" destOrd="0" presId="urn:microsoft.com/office/officeart/2005/8/layout/cycle2"/>
    <dgm:cxn modelId="{C8AE8F95-3641-9246-98AC-42B882F8B209}" srcId="{640436BB-D824-BF49-88D1-3664913DD548}" destId="{02FF68CA-CDAB-5940-81B1-2934E1493F34}" srcOrd="1" destOrd="0" parTransId="{6A8416AE-75BC-7A40-AB04-72F00EFD4D5A}" sibTransId="{24370096-993A-B746-A0B0-F25121B52241}"/>
    <dgm:cxn modelId="{61A4B2A0-4CC5-C54C-82D5-42EFD75C182D}" type="presOf" srcId="{24370096-993A-B746-A0B0-F25121B52241}" destId="{89CA9190-2230-1248-8FAF-C113DE0B754D}" srcOrd="1" destOrd="0" presId="urn:microsoft.com/office/officeart/2005/8/layout/cycle2"/>
    <dgm:cxn modelId="{F9420BC3-4097-5146-84F3-C9B3F37E9F0E}" srcId="{640436BB-D824-BF49-88D1-3664913DD548}" destId="{AAAB8B7A-7FBC-104E-8EC1-3B16F1BD55D8}" srcOrd="0" destOrd="0" parTransId="{B76E81B1-9D9C-FD43-A93F-AF92019179B1}" sibTransId="{05A131EF-4348-904A-AD00-BFE2E6A5D472}"/>
    <dgm:cxn modelId="{8ED948C5-EC9D-0640-8289-3A1F0BC680B3}" type="presOf" srcId="{0508281E-ABDF-2E4E-A9E1-0C44D6013757}" destId="{68503487-B0DF-1944-894F-6C47622CFE8D}" srcOrd="1" destOrd="0" presId="urn:microsoft.com/office/officeart/2005/8/layout/cycle2"/>
    <dgm:cxn modelId="{F282EEFC-AC6E-4040-9469-FD56CFE001F0}" type="presOf" srcId="{AC503B57-FA9F-1D42-BEA2-189DA0AA8C6F}" destId="{581BCB2C-E1FB-4D42-B1E6-BACDE537086E}" srcOrd="1" destOrd="0" presId="urn:microsoft.com/office/officeart/2005/8/layout/cycle2"/>
    <dgm:cxn modelId="{0FA542FF-2E36-F844-AF68-D92C426600E0}" srcId="{640436BB-D824-BF49-88D1-3664913DD548}" destId="{DD67C831-4BB6-EC4C-8A58-A1C2B73A398E}" srcOrd="3" destOrd="0" parTransId="{BC4DE497-48DC-D84B-B380-60FE93E71A60}" sibTransId="{0508281E-ABDF-2E4E-A9E1-0C44D6013757}"/>
    <dgm:cxn modelId="{E2E93010-B4D3-AC4E-9966-74E02DAE2894}" type="presParOf" srcId="{796818EF-F9A4-2848-9706-7C0C4AA1B05D}" destId="{3BC5FF11-5D59-C44B-BC1B-A6AEA048F8A1}" srcOrd="0" destOrd="0" presId="urn:microsoft.com/office/officeart/2005/8/layout/cycle2"/>
    <dgm:cxn modelId="{C2FFC0B2-FA7D-7744-B8F0-85AC78127F89}" type="presParOf" srcId="{796818EF-F9A4-2848-9706-7C0C4AA1B05D}" destId="{D11C08CD-A643-5248-9C6B-394D29F3C516}" srcOrd="1" destOrd="0" presId="urn:microsoft.com/office/officeart/2005/8/layout/cycle2"/>
    <dgm:cxn modelId="{9D3BAF7E-7D59-864C-A311-D5082DBEFA34}" type="presParOf" srcId="{D11C08CD-A643-5248-9C6B-394D29F3C516}" destId="{47449991-3193-4944-A10F-4C45EBCA4120}" srcOrd="0" destOrd="0" presId="urn:microsoft.com/office/officeart/2005/8/layout/cycle2"/>
    <dgm:cxn modelId="{05691DFA-E077-A841-AAA5-496961D40CBE}" type="presParOf" srcId="{796818EF-F9A4-2848-9706-7C0C4AA1B05D}" destId="{275EC80F-C382-E641-B02F-E173441EA52A}" srcOrd="2" destOrd="0" presId="urn:microsoft.com/office/officeart/2005/8/layout/cycle2"/>
    <dgm:cxn modelId="{066881EC-6427-CE49-95BB-D1695B4D4D2F}" type="presParOf" srcId="{796818EF-F9A4-2848-9706-7C0C4AA1B05D}" destId="{DE7E7548-A5E1-D84F-938E-8ECC7D288526}" srcOrd="3" destOrd="0" presId="urn:microsoft.com/office/officeart/2005/8/layout/cycle2"/>
    <dgm:cxn modelId="{73D6DE3E-AF96-C943-BA40-80BAA7099A38}" type="presParOf" srcId="{DE7E7548-A5E1-D84F-938E-8ECC7D288526}" destId="{89CA9190-2230-1248-8FAF-C113DE0B754D}" srcOrd="0" destOrd="0" presId="urn:microsoft.com/office/officeart/2005/8/layout/cycle2"/>
    <dgm:cxn modelId="{56EAC76C-6AF3-864C-BB47-9B8124560DD2}" type="presParOf" srcId="{796818EF-F9A4-2848-9706-7C0C4AA1B05D}" destId="{47EB48FA-D3D7-7D43-8693-2C486C79FF79}" srcOrd="4" destOrd="0" presId="urn:microsoft.com/office/officeart/2005/8/layout/cycle2"/>
    <dgm:cxn modelId="{96EB5F00-1FF7-684D-98F8-E938FC26F01E}" type="presParOf" srcId="{796818EF-F9A4-2848-9706-7C0C4AA1B05D}" destId="{A3DB440F-8547-3141-9AB6-D03AA03A1119}" srcOrd="5" destOrd="0" presId="urn:microsoft.com/office/officeart/2005/8/layout/cycle2"/>
    <dgm:cxn modelId="{6796B3B8-2A8D-8F42-A0D4-5DB2079D7A65}" type="presParOf" srcId="{A3DB440F-8547-3141-9AB6-D03AA03A1119}" destId="{581BCB2C-E1FB-4D42-B1E6-BACDE537086E}" srcOrd="0" destOrd="0" presId="urn:microsoft.com/office/officeart/2005/8/layout/cycle2"/>
    <dgm:cxn modelId="{7AC1DC3C-2BA3-B341-AA06-2D0ED92938B5}" type="presParOf" srcId="{796818EF-F9A4-2848-9706-7C0C4AA1B05D}" destId="{3A073B0E-D57E-7E41-A4F9-5F7FDBDC883A}" srcOrd="6" destOrd="0" presId="urn:microsoft.com/office/officeart/2005/8/layout/cycle2"/>
    <dgm:cxn modelId="{CD1AB34C-C482-B942-9036-ECB8509D5061}" type="presParOf" srcId="{796818EF-F9A4-2848-9706-7C0C4AA1B05D}" destId="{9C4B1355-3D83-5246-B0BB-CEC8F61F1246}" srcOrd="7" destOrd="0" presId="urn:microsoft.com/office/officeart/2005/8/layout/cycle2"/>
    <dgm:cxn modelId="{DCC48F7B-187E-9246-864F-2545B30F7248}" type="presParOf" srcId="{9C4B1355-3D83-5246-B0BB-CEC8F61F1246}" destId="{68503487-B0DF-1944-894F-6C47622CFE8D}"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C42902-138F-5146-B0EF-E4A7A67B20AF}">
      <dsp:nvSpPr>
        <dsp:cNvPr id="0" name=""/>
        <dsp:cNvSpPr/>
      </dsp:nvSpPr>
      <dsp:spPr>
        <a:xfrm rot="3104698">
          <a:off x="1728834" y="4798694"/>
          <a:ext cx="2743875" cy="33134"/>
        </a:xfrm>
        <a:custGeom>
          <a:avLst/>
          <a:gdLst/>
          <a:ahLst/>
          <a:cxnLst/>
          <a:rect l="0" t="0" r="0" b="0"/>
          <a:pathLst>
            <a:path>
              <a:moveTo>
                <a:pt x="0" y="16567"/>
              </a:moveTo>
              <a:lnTo>
                <a:pt x="2743875" y="16567"/>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A7272F4-E39D-F04F-B7EB-6446E1F583E3}">
      <dsp:nvSpPr>
        <dsp:cNvPr id="0" name=""/>
        <dsp:cNvSpPr/>
      </dsp:nvSpPr>
      <dsp:spPr>
        <a:xfrm rot="2094621">
          <a:off x="2106902" y="4346628"/>
          <a:ext cx="2658026" cy="33134"/>
        </a:xfrm>
        <a:custGeom>
          <a:avLst/>
          <a:gdLst/>
          <a:ahLst/>
          <a:cxnLst/>
          <a:rect l="0" t="0" r="0" b="0"/>
          <a:pathLst>
            <a:path>
              <a:moveTo>
                <a:pt x="0" y="16567"/>
              </a:moveTo>
              <a:lnTo>
                <a:pt x="2658026" y="16567"/>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7FA7465-E99C-FE43-B4FB-ECEB826A8A95}">
      <dsp:nvSpPr>
        <dsp:cNvPr id="0" name=""/>
        <dsp:cNvSpPr/>
      </dsp:nvSpPr>
      <dsp:spPr>
        <a:xfrm rot="1055445">
          <a:off x="2283788" y="3817926"/>
          <a:ext cx="2663402" cy="33134"/>
        </a:xfrm>
        <a:custGeom>
          <a:avLst/>
          <a:gdLst/>
          <a:ahLst/>
          <a:cxnLst/>
          <a:rect l="0" t="0" r="0" b="0"/>
          <a:pathLst>
            <a:path>
              <a:moveTo>
                <a:pt x="0" y="16567"/>
              </a:moveTo>
              <a:lnTo>
                <a:pt x="2663402" y="16567"/>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C81E7F2-615F-9E4F-BC85-33CD6C781A04}">
      <dsp:nvSpPr>
        <dsp:cNvPr id="0" name=""/>
        <dsp:cNvSpPr/>
      </dsp:nvSpPr>
      <dsp:spPr>
        <a:xfrm>
          <a:off x="2346059" y="3273461"/>
          <a:ext cx="2660848" cy="33134"/>
        </a:xfrm>
        <a:custGeom>
          <a:avLst/>
          <a:gdLst/>
          <a:ahLst/>
          <a:cxnLst/>
          <a:rect l="0" t="0" r="0" b="0"/>
          <a:pathLst>
            <a:path>
              <a:moveTo>
                <a:pt x="0" y="16567"/>
              </a:moveTo>
              <a:lnTo>
                <a:pt x="2660848" y="16567"/>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6271FE2-9E16-2741-937E-4EE684F2F7A0}">
      <dsp:nvSpPr>
        <dsp:cNvPr id="0" name=""/>
        <dsp:cNvSpPr/>
      </dsp:nvSpPr>
      <dsp:spPr>
        <a:xfrm rot="20544555">
          <a:off x="2283788" y="2728996"/>
          <a:ext cx="2663402" cy="33134"/>
        </a:xfrm>
        <a:custGeom>
          <a:avLst/>
          <a:gdLst/>
          <a:ahLst/>
          <a:cxnLst/>
          <a:rect l="0" t="0" r="0" b="0"/>
          <a:pathLst>
            <a:path>
              <a:moveTo>
                <a:pt x="0" y="16567"/>
              </a:moveTo>
              <a:lnTo>
                <a:pt x="2663402" y="16567"/>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83122A7-C234-0442-BF0D-AE528FEA7FC2}">
      <dsp:nvSpPr>
        <dsp:cNvPr id="0" name=""/>
        <dsp:cNvSpPr/>
      </dsp:nvSpPr>
      <dsp:spPr>
        <a:xfrm rot="19505379">
          <a:off x="2106902" y="2200294"/>
          <a:ext cx="2658026" cy="33134"/>
        </a:xfrm>
        <a:custGeom>
          <a:avLst/>
          <a:gdLst/>
          <a:ahLst/>
          <a:cxnLst/>
          <a:rect l="0" t="0" r="0" b="0"/>
          <a:pathLst>
            <a:path>
              <a:moveTo>
                <a:pt x="0" y="16567"/>
              </a:moveTo>
              <a:lnTo>
                <a:pt x="2658026" y="16567"/>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B1EF2D9-7F90-7D4D-9D8B-2B6D57A38AAF}">
      <dsp:nvSpPr>
        <dsp:cNvPr id="0" name=""/>
        <dsp:cNvSpPr/>
      </dsp:nvSpPr>
      <dsp:spPr>
        <a:xfrm rot="18495302">
          <a:off x="1728834" y="1748228"/>
          <a:ext cx="2743875" cy="33134"/>
        </a:xfrm>
        <a:custGeom>
          <a:avLst/>
          <a:gdLst/>
          <a:ahLst/>
          <a:cxnLst/>
          <a:rect l="0" t="0" r="0" b="0"/>
          <a:pathLst>
            <a:path>
              <a:moveTo>
                <a:pt x="0" y="16567"/>
              </a:moveTo>
              <a:lnTo>
                <a:pt x="2743875" y="16567"/>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F4D6B0-87F4-D644-B6DF-F023EA2C1095}">
      <dsp:nvSpPr>
        <dsp:cNvPr id="0" name=""/>
        <dsp:cNvSpPr/>
      </dsp:nvSpPr>
      <dsp:spPr>
        <a:xfrm>
          <a:off x="-51377" y="1269795"/>
          <a:ext cx="3899071" cy="4040467"/>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2919A6-2A72-FA41-BF5A-16D061CD6259}">
      <dsp:nvSpPr>
        <dsp:cNvPr id="0" name=""/>
        <dsp:cNvSpPr/>
      </dsp:nvSpPr>
      <dsp:spPr>
        <a:xfrm>
          <a:off x="3804016" y="2075"/>
          <a:ext cx="767831" cy="767831"/>
        </a:xfrm>
        <a:prstGeom prst="ellipse">
          <a:avLst/>
        </a:prstGeom>
        <a:solidFill>
          <a:schemeClr val="accent5">
            <a:hueOff val="-109114"/>
            <a:satOff val="3050"/>
            <a:lumOff val="137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nb-NO" sz="1100" kern="1200" dirty="0"/>
            <a:t>Israel</a:t>
          </a:r>
        </a:p>
      </dsp:txBody>
      <dsp:txXfrm>
        <a:off x="3916462" y="114521"/>
        <a:ext cx="542939" cy="542939"/>
      </dsp:txXfrm>
    </dsp:sp>
    <dsp:sp modelId="{B4A57ECF-3D95-4044-92FD-0AD0C8E8C6A8}">
      <dsp:nvSpPr>
        <dsp:cNvPr id="0" name=""/>
        <dsp:cNvSpPr/>
      </dsp:nvSpPr>
      <dsp:spPr>
        <a:xfrm>
          <a:off x="4456684" y="852648"/>
          <a:ext cx="767831" cy="767831"/>
        </a:xfrm>
        <a:prstGeom prst="ellipse">
          <a:avLst/>
        </a:prstGeom>
        <a:solidFill>
          <a:schemeClr val="accent5">
            <a:hueOff val="-218228"/>
            <a:satOff val="6099"/>
            <a:lumOff val="274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nb-NO" sz="1100" kern="1200" dirty="0" err="1"/>
            <a:t>Switzer</a:t>
          </a:r>
          <a:r>
            <a:rPr lang="nb-NO" sz="1100" kern="1200" dirty="0"/>
            <a:t>-land</a:t>
          </a:r>
        </a:p>
      </dsp:txBody>
      <dsp:txXfrm>
        <a:off x="4569130" y="965094"/>
        <a:ext cx="542939" cy="542939"/>
      </dsp:txXfrm>
    </dsp:sp>
    <dsp:sp modelId="{D9B079BC-F8CE-5D4B-BEFB-3C6601459093}">
      <dsp:nvSpPr>
        <dsp:cNvPr id="0" name=""/>
        <dsp:cNvSpPr/>
      </dsp:nvSpPr>
      <dsp:spPr>
        <a:xfrm>
          <a:off x="4866968" y="1843161"/>
          <a:ext cx="767831" cy="767831"/>
        </a:xfrm>
        <a:prstGeom prst="ellipse">
          <a:avLst/>
        </a:prstGeom>
        <a:solidFill>
          <a:schemeClr val="accent5">
            <a:hueOff val="-327342"/>
            <a:satOff val="9149"/>
            <a:lumOff val="41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nb-NO" sz="1100" kern="1200"/>
            <a:t>Silicon Valley</a:t>
          </a:r>
        </a:p>
      </dsp:txBody>
      <dsp:txXfrm>
        <a:off x="4979414" y="1955607"/>
        <a:ext cx="542939" cy="542939"/>
      </dsp:txXfrm>
    </dsp:sp>
    <dsp:sp modelId="{A32EA988-F1D4-C84C-B5EA-806D9C175A7B}">
      <dsp:nvSpPr>
        <dsp:cNvPr id="0" name=""/>
        <dsp:cNvSpPr/>
      </dsp:nvSpPr>
      <dsp:spPr>
        <a:xfrm>
          <a:off x="5006908" y="2906113"/>
          <a:ext cx="767831" cy="767831"/>
        </a:xfrm>
        <a:prstGeom prst="ellipse">
          <a:avLst/>
        </a:prstGeom>
        <a:solidFill>
          <a:schemeClr val="accent5">
            <a:hueOff val="-436456"/>
            <a:satOff val="12198"/>
            <a:lumOff val="549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nb-NO" sz="1100" kern="1200"/>
            <a:t>New York</a:t>
          </a:r>
        </a:p>
      </dsp:txBody>
      <dsp:txXfrm>
        <a:off x="5119354" y="3018559"/>
        <a:ext cx="542939" cy="542939"/>
      </dsp:txXfrm>
    </dsp:sp>
    <dsp:sp modelId="{8E247101-EF7A-C74E-AC84-4C6156F2C553}">
      <dsp:nvSpPr>
        <dsp:cNvPr id="0" name=""/>
        <dsp:cNvSpPr/>
      </dsp:nvSpPr>
      <dsp:spPr>
        <a:xfrm>
          <a:off x="4866968" y="3969065"/>
          <a:ext cx="767831" cy="767831"/>
        </a:xfrm>
        <a:prstGeom prst="ellipse">
          <a:avLst/>
        </a:prstGeom>
        <a:solidFill>
          <a:schemeClr val="accent5">
            <a:hueOff val="-545571"/>
            <a:satOff val="15248"/>
            <a:lumOff val="68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nb-NO" sz="1100" kern="1200" dirty="0"/>
            <a:t>Berlin (Tysk-land, Benelux, UK)</a:t>
          </a:r>
        </a:p>
      </dsp:txBody>
      <dsp:txXfrm>
        <a:off x="4979414" y="4081511"/>
        <a:ext cx="542939" cy="542939"/>
      </dsp:txXfrm>
    </dsp:sp>
    <dsp:sp modelId="{8FEA1834-CA38-1D42-8D8E-7012FC0CA055}">
      <dsp:nvSpPr>
        <dsp:cNvPr id="0" name=""/>
        <dsp:cNvSpPr/>
      </dsp:nvSpPr>
      <dsp:spPr>
        <a:xfrm>
          <a:off x="4456684" y="4959578"/>
          <a:ext cx="767831" cy="767831"/>
        </a:xfrm>
        <a:prstGeom prst="ellipse">
          <a:avLst/>
        </a:prstGeom>
        <a:solidFill>
          <a:schemeClr val="accent5">
            <a:hueOff val="-654685"/>
            <a:satOff val="18297"/>
            <a:lumOff val="8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nb-NO" sz="1100" kern="1200" dirty="0" err="1"/>
            <a:t>Singa</a:t>
          </a:r>
          <a:r>
            <a:rPr lang="nb-NO" sz="1100" kern="1200" dirty="0"/>
            <a:t>-pore+</a:t>
          </a:r>
        </a:p>
      </dsp:txBody>
      <dsp:txXfrm>
        <a:off x="4569130" y="5072024"/>
        <a:ext cx="542939" cy="542939"/>
      </dsp:txXfrm>
    </dsp:sp>
    <dsp:sp modelId="{E50670DF-63FF-3249-B8D8-4EA8972CF858}">
      <dsp:nvSpPr>
        <dsp:cNvPr id="0" name=""/>
        <dsp:cNvSpPr/>
      </dsp:nvSpPr>
      <dsp:spPr>
        <a:xfrm>
          <a:off x="3804016" y="5810151"/>
          <a:ext cx="767831" cy="767831"/>
        </a:xfrm>
        <a:prstGeom prst="ellipse">
          <a:avLst/>
        </a:prstGeom>
        <a:solidFill>
          <a:schemeClr val="accent5">
            <a:hueOff val="-763799"/>
            <a:satOff val="21347"/>
            <a:lumOff val="96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nb-NO" sz="1100" kern="1200" dirty="0"/>
            <a:t>Shanghai</a:t>
          </a:r>
        </a:p>
      </dsp:txBody>
      <dsp:txXfrm>
        <a:off x="3916462" y="5922597"/>
        <a:ext cx="542939" cy="54293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EF3DBC-7885-0E4E-9BE2-0A5A24CAE25A}">
      <dsp:nvSpPr>
        <dsp:cNvPr id="0" name=""/>
        <dsp:cNvSpPr/>
      </dsp:nvSpPr>
      <dsp:spPr>
        <a:xfrm>
          <a:off x="6005592" y="2859437"/>
          <a:ext cx="3494867" cy="3494867"/>
        </a:xfrm>
        <a:prstGeom prst="gear9">
          <a:avLst/>
        </a:prstGeom>
        <a:solidFill>
          <a:srgbClr val="0096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nb-NO" sz="1400" kern="1200" dirty="0"/>
            <a:t>HOW TO MAKE BUSINESS OUT OF IT?</a:t>
          </a:r>
        </a:p>
        <a:p>
          <a:pPr marL="0" lvl="0" indent="0" algn="ctr" defTabSz="622300">
            <a:lnSpc>
              <a:spcPct val="90000"/>
            </a:lnSpc>
            <a:spcBef>
              <a:spcPct val="0"/>
            </a:spcBef>
            <a:spcAft>
              <a:spcPct val="35000"/>
            </a:spcAft>
            <a:buNone/>
          </a:pPr>
          <a:r>
            <a:rPr lang="nb-NO" sz="1400" kern="1200" dirty="0"/>
            <a:t> (</a:t>
          </a:r>
          <a:r>
            <a:rPr lang="nb-NO" sz="1400" kern="1200" dirty="0" err="1"/>
            <a:t>Integrate</a:t>
          </a:r>
          <a:r>
            <a:rPr lang="nb-NO" sz="1400" kern="1200" dirty="0"/>
            <a:t> in </a:t>
          </a:r>
          <a:r>
            <a:rPr lang="nb-NO" sz="1400" kern="1200" dirty="0" err="1"/>
            <a:t>excisting</a:t>
          </a:r>
          <a:r>
            <a:rPr lang="nb-NO" sz="1400" kern="1200" dirty="0"/>
            <a:t> programs, </a:t>
          </a:r>
          <a:r>
            <a:rPr lang="nb-NO" sz="1400" kern="1200" dirty="0" err="1"/>
            <a:t>roundtables</a:t>
          </a:r>
          <a:r>
            <a:rPr lang="nb-NO" sz="1400" kern="1200" dirty="0"/>
            <a:t> and/or a </a:t>
          </a:r>
          <a:r>
            <a:rPr lang="nb-NO" sz="1400" kern="1200" dirty="0" err="1"/>
            <a:t>new</a:t>
          </a:r>
          <a:r>
            <a:rPr lang="nb-NO" sz="1400" kern="1200" dirty="0"/>
            <a:t> </a:t>
          </a:r>
          <a:r>
            <a:rPr lang="nb-NO" sz="1400" kern="1200" dirty="0" err="1"/>
            <a:t>executive</a:t>
          </a:r>
          <a:r>
            <a:rPr lang="nb-NO" sz="1400" kern="1200" dirty="0"/>
            <a:t> </a:t>
          </a:r>
          <a:r>
            <a:rPr lang="nb-NO" sz="1400" kern="1200" err="1"/>
            <a:t>program</a:t>
          </a:r>
          <a:r>
            <a:rPr lang="nb-NO" sz="1400" kern="1200"/>
            <a:t>?)</a:t>
          </a:r>
          <a:endParaRPr lang="nb-NO" sz="1400" kern="1200" dirty="0"/>
        </a:p>
      </dsp:txBody>
      <dsp:txXfrm>
        <a:off x="6708216" y="3678093"/>
        <a:ext cx="2089619" cy="1796434"/>
      </dsp:txXfrm>
    </dsp:sp>
    <dsp:sp modelId="{748856BE-E406-F34E-BF68-7653F351186C}">
      <dsp:nvSpPr>
        <dsp:cNvPr id="0" name=""/>
        <dsp:cNvSpPr/>
      </dsp:nvSpPr>
      <dsp:spPr>
        <a:xfrm>
          <a:off x="3972215" y="2033377"/>
          <a:ext cx="2541722" cy="2541722"/>
        </a:xfrm>
        <a:prstGeom prst="gear6">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nb-NO" sz="1400" kern="1200" dirty="0"/>
            <a:t>SUSTAINABILITY</a:t>
          </a:r>
        </a:p>
      </dsp:txBody>
      <dsp:txXfrm>
        <a:off x="4612101" y="2677131"/>
        <a:ext cx="1261950" cy="1254214"/>
      </dsp:txXfrm>
    </dsp:sp>
    <dsp:sp modelId="{15EEC3E9-98AD-4544-BC41-6C3EA752698B}">
      <dsp:nvSpPr>
        <dsp:cNvPr id="0" name=""/>
        <dsp:cNvSpPr/>
      </dsp:nvSpPr>
      <dsp:spPr>
        <a:xfrm rot="20700000">
          <a:off x="5395838" y="279848"/>
          <a:ext cx="2490368" cy="2490368"/>
        </a:xfrm>
        <a:prstGeom prst="gear6">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nb-NO" sz="1400" kern="1200" dirty="0"/>
            <a:t>INNOVATON AND LEADERSHIP</a:t>
          </a:r>
        </a:p>
      </dsp:txBody>
      <dsp:txXfrm rot="-20700000">
        <a:off x="5942049" y="826059"/>
        <a:ext cx="1397947" cy="1397947"/>
      </dsp:txXfrm>
    </dsp:sp>
    <dsp:sp modelId="{EBF64D2A-9A0A-8E4A-9A3D-D2F90052500C}">
      <dsp:nvSpPr>
        <dsp:cNvPr id="0" name=""/>
        <dsp:cNvSpPr/>
      </dsp:nvSpPr>
      <dsp:spPr>
        <a:xfrm>
          <a:off x="5761235" y="2318088"/>
          <a:ext cx="4473430" cy="4473430"/>
        </a:xfrm>
        <a:prstGeom prst="circularArrow">
          <a:avLst>
            <a:gd name="adj1" fmla="val 4687"/>
            <a:gd name="adj2" fmla="val 299029"/>
            <a:gd name="adj3" fmla="val 2551454"/>
            <a:gd name="adj4" fmla="val 15787249"/>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053B93E-56C5-AE4C-BF3B-248D12045F51}">
      <dsp:nvSpPr>
        <dsp:cNvPr id="0" name=""/>
        <dsp:cNvSpPr/>
      </dsp:nvSpPr>
      <dsp:spPr>
        <a:xfrm>
          <a:off x="3522081" y="1461720"/>
          <a:ext cx="3250227" cy="3250227"/>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4B27AC3-6D86-4947-B240-1FDD04572B0E}">
      <dsp:nvSpPr>
        <dsp:cNvPr id="0" name=""/>
        <dsp:cNvSpPr/>
      </dsp:nvSpPr>
      <dsp:spPr>
        <a:xfrm>
          <a:off x="4819790" y="-274905"/>
          <a:ext cx="3504399" cy="3504399"/>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EF3DBC-7885-0E4E-9BE2-0A5A24CAE25A}">
      <dsp:nvSpPr>
        <dsp:cNvPr id="0" name=""/>
        <dsp:cNvSpPr/>
      </dsp:nvSpPr>
      <dsp:spPr>
        <a:xfrm>
          <a:off x="3753911" y="877796"/>
          <a:ext cx="5138792" cy="5129155"/>
        </a:xfrm>
        <a:prstGeom prst="gear9">
          <a:avLst/>
        </a:prstGeom>
        <a:solidFill>
          <a:srgbClr val="0096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nb-NO" sz="2500" kern="1200" dirty="0"/>
            <a:t>HOW TO MAKE BUSINESS OUT OF IT?</a:t>
          </a:r>
        </a:p>
        <a:p>
          <a:pPr marL="0" lvl="0" indent="0" algn="ctr" defTabSz="1111250">
            <a:lnSpc>
              <a:spcPct val="90000"/>
            </a:lnSpc>
            <a:spcBef>
              <a:spcPct val="0"/>
            </a:spcBef>
            <a:spcAft>
              <a:spcPct val="35000"/>
            </a:spcAft>
            <a:buNone/>
          </a:pPr>
          <a:r>
            <a:rPr lang="nb-NO" sz="2500" kern="1200" dirty="0"/>
            <a:t> (</a:t>
          </a:r>
          <a:r>
            <a:rPr lang="nb-NO" sz="2500" kern="1200" dirty="0" err="1"/>
            <a:t>Integrate</a:t>
          </a:r>
          <a:r>
            <a:rPr lang="nb-NO" sz="2500" kern="1200" dirty="0"/>
            <a:t> in </a:t>
          </a:r>
          <a:r>
            <a:rPr lang="nb-NO" sz="2500" kern="1200" dirty="0" err="1"/>
            <a:t>excisting</a:t>
          </a:r>
          <a:r>
            <a:rPr lang="nb-NO" sz="2500" kern="1200" dirty="0"/>
            <a:t> programs, </a:t>
          </a:r>
          <a:r>
            <a:rPr lang="nb-NO" sz="2500" kern="1200" dirty="0" err="1"/>
            <a:t>roundtables</a:t>
          </a:r>
          <a:r>
            <a:rPr lang="nb-NO" sz="2500" kern="1200" dirty="0"/>
            <a:t> and/or a </a:t>
          </a:r>
          <a:r>
            <a:rPr lang="nb-NO" sz="2500" kern="1200" dirty="0" err="1"/>
            <a:t>new</a:t>
          </a:r>
          <a:r>
            <a:rPr lang="nb-NO" sz="2500" kern="1200" dirty="0"/>
            <a:t> </a:t>
          </a:r>
          <a:r>
            <a:rPr lang="nb-NO" sz="2500" kern="1200" dirty="0" err="1"/>
            <a:t>executive</a:t>
          </a:r>
          <a:r>
            <a:rPr lang="nb-NO" sz="2500" kern="1200" dirty="0"/>
            <a:t> program?)</a:t>
          </a:r>
        </a:p>
      </dsp:txBody>
      <dsp:txXfrm>
        <a:off x="4786317" y="2079276"/>
        <a:ext cx="3073980" cy="2636492"/>
      </dsp:txXfrm>
    </dsp:sp>
    <dsp:sp modelId="{EBF64D2A-9A0A-8E4A-9A3D-D2F90052500C}">
      <dsp:nvSpPr>
        <dsp:cNvPr id="0" name=""/>
        <dsp:cNvSpPr/>
      </dsp:nvSpPr>
      <dsp:spPr>
        <a:xfrm>
          <a:off x="3952270" y="55352"/>
          <a:ext cx="6072679" cy="6095451"/>
        </a:xfrm>
        <a:prstGeom prst="circularArrow">
          <a:avLst>
            <a:gd name="adj1" fmla="val 4878"/>
            <a:gd name="adj2" fmla="val 312630"/>
            <a:gd name="adj3" fmla="val 3287126"/>
            <a:gd name="adj4" fmla="val 15035337"/>
            <a:gd name="adj5" fmla="val 569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C5FF11-5D59-C44B-BC1B-A6AEA048F8A1}">
      <dsp:nvSpPr>
        <dsp:cNvPr id="0" name=""/>
        <dsp:cNvSpPr/>
      </dsp:nvSpPr>
      <dsp:spPr>
        <a:xfrm>
          <a:off x="5055035" y="1483"/>
          <a:ext cx="1671110" cy="1671110"/>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GB" sz="1300" kern="1200"/>
            <a:t>THE LEADER, LEADERSHIP AND PEOPLE</a:t>
          </a:r>
          <a:endParaRPr lang="en-GB" sz="1300" kern="1200" dirty="0"/>
        </a:p>
      </dsp:txBody>
      <dsp:txXfrm>
        <a:off x="5299763" y="246211"/>
        <a:ext cx="1181654" cy="1181654"/>
      </dsp:txXfrm>
    </dsp:sp>
    <dsp:sp modelId="{D11C08CD-A643-5248-9C6B-394D29F3C516}">
      <dsp:nvSpPr>
        <dsp:cNvPr id="0" name=""/>
        <dsp:cNvSpPr/>
      </dsp:nvSpPr>
      <dsp:spPr>
        <a:xfrm rot="2700000">
          <a:off x="6546659" y="1432914"/>
          <a:ext cx="443614" cy="563999"/>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p>
      </dsp:txBody>
      <dsp:txXfrm>
        <a:off x="6566149" y="1498662"/>
        <a:ext cx="310530" cy="338399"/>
      </dsp:txXfrm>
    </dsp:sp>
    <dsp:sp modelId="{275EC80F-C382-E641-B02F-E173441EA52A}">
      <dsp:nvSpPr>
        <dsp:cNvPr id="0" name=""/>
        <dsp:cNvSpPr/>
      </dsp:nvSpPr>
      <dsp:spPr>
        <a:xfrm>
          <a:off x="6828544" y="1774991"/>
          <a:ext cx="1671110" cy="1671110"/>
        </a:xfrm>
        <a:prstGeom prst="ellipse">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GB" sz="1300" kern="1200" dirty="0"/>
            <a:t>STRATEGY IN THE DIGITAL WORLD</a:t>
          </a:r>
        </a:p>
      </dsp:txBody>
      <dsp:txXfrm>
        <a:off x="7073272" y="2019719"/>
        <a:ext cx="1181654" cy="1181654"/>
      </dsp:txXfrm>
    </dsp:sp>
    <dsp:sp modelId="{DE7E7548-A5E1-D84F-938E-8ECC7D288526}">
      <dsp:nvSpPr>
        <dsp:cNvPr id="0" name=""/>
        <dsp:cNvSpPr/>
      </dsp:nvSpPr>
      <dsp:spPr>
        <a:xfrm rot="8100000">
          <a:off x="6564415" y="3206422"/>
          <a:ext cx="443614" cy="563999"/>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p>
      </dsp:txBody>
      <dsp:txXfrm rot="10800000">
        <a:off x="6678009" y="3272170"/>
        <a:ext cx="310530" cy="338399"/>
      </dsp:txXfrm>
    </dsp:sp>
    <dsp:sp modelId="{47EB48FA-D3D7-7D43-8693-2C486C79FF79}">
      <dsp:nvSpPr>
        <dsp:cNvPr id="0" name=""/>
        <dsp:cNvSpPr/>
      </dsp:nvSpPr>
      <dsp:spPr>
        <a:xfrm>
          <a:off x="5055035" y="3548499"/>
          <a:ext cx="1671110" cy="1671110"/>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GB" sz="1300" kern="1200" dirty="0"/>
            <a:t>INNOVATION AND BUSINESS DEVELOPMENT </a:t>
          </a:r>
        </a:p>
      </dsp:txBody>
      <dsp:txXfrm>
        <a:off x="5299763" y="3793227"/>
        <a:ext cx="1181654" cy="1181654"/>
      </dsp:txXfrm>
    </dsp:sp>
    <dsp:sp modelId="{A3DB440F-8547-3141-9AB6-D03AA03A1119}">
      <dsp:nvSpPr>
        <dsp:cNvPr id="0" name=""/>
        <dsp:cNvSpPr/>
      </dsp:nvSpPr>
      <dsp:spPr>
        <a:xfrm rot="13500000">
          <a:off x="4790907" y="3224178"/>
          <a:ext cx="443614" cy="563999"/>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p>
      </dsp:txBody>
      <dsp:txXfrm rot="10800000">
        <a:off x="4904501" y="3384030"/>
        <a:ext cx="310530" cy="338399"/>
      </dsp:txXfrm>
    </dsp:sp>
    <dsp:sp modelId="{3A073B0E-D57E-7E41-A4F9-5F7FDBDC883A}">
      <dsp:nvSpPr>
        <dsp:cNvPr id="0" name=""/>
        <dsp:cNvSpPr/>
      </dsp:nvSpPr>
      <dsp:spPr>
        <a:xfrm>
          <a:off x="3281527" y="1774991"/>
          <a:ext cx="1671110" cy="1671110"/>
        </a:xfrm>
        <a:prstGeom prst="ellipse">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GB" sz="1300" kern="1200" dirty="0"/>
            <a:t>ENERGY, CLIMATE AND SUSTAINABILITY</a:t>
          </a:r>
        </a:p>
      </dsp:txBody>
      <dsp:txXfrm>
        <a:off x="3526255" y="2019719"/>
        <a:ext cx="1181654" cy="1181654"/>
      </dsp:txXfrm>
    </dsp:sp>
    <dsp:sp modelId="{9C4B1355-3D83-5246-B0BB-CEC8F61F1246}">
      <dsp:nvSpPr>
        <dsp:cNvPr id="0" name=""/>
        <dsp:cNvSpPr/>
      </dsp:nvSpPr>
      <dsp:spPr>
        <a:xfrm rot="18900000">
          <a:off x="4773151" y="1450670"/>
          <a:ext cx="443614" cy="563999"/>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p>
      </dsp:txBody>
      <dsp:txXfrm>
        <a:off x="4792641" y="1610522"/>
        <a:ext cx="310530" cy="338399"/>
      </dsp:txXfrm>
    </dsp:sp>
  </dsp:spTree>
</dsp:drawing>
</file>

<file path=ppt/diagrams/layout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a:defRPr/>
            </a:pPr>
            <a:endParaRPr lang="nb-NO"/>
          </a:p>
        </p:txBody>
      </p:sp>
      <p:sp>
        <p:nvSpPr>
          <p:cNvPr id="3" name="Plassholder for dato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a:defRPr/>
            </a:pPr>
            <a:fld id="{D23E392C-60DF-3E40-9842-7AB07C023773}" type="datetimeFigureOut">
              <a:rPr lang="nb-NO"/>
              <a:pPr>
                <a:defRPr/>
              </a:pPr>
              <a:t>27.02.2023</a:t>
            </a:fld>
            <a:endParaRPr lang="nb-NO"/>
          </a:p>
        </p:txBody>
      </p:sp>
      <p:sp>
        <p:nvSpPr>
          <p:cNvPr id="4" name="Plassholder for bunn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a:defRPr/>
            </a:pPr>
            <a:endParaRPr lang="nb-NO"/>
          </a:p>
        </p:txBody>
      </p:sp>
      <p:sp>
        <p:nvSpPr>
          <p:cNvPr id="5" name="Plassholder for lysbilde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a:defRPr/>
            </a:pPr>
            <a:fld id="{9F07E93E-AD64-364F-B116-262C497310BD}" type="slidenum">
              <a:rPr lang="nb-NO"/>
              <a:pPr>
                <a:defRPr/>
              </a:pPr>
              <a:t>‹#›</a:t>
            </a:fld>
            <a:endParaRPr lang="nb-NO"/>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sv-SE"/>
          </a:p>
        </p:txBody>
      </p:sp>
      <p:sp>
        <p:nvSpPr>
          <p:cNvPr id="3" name="Plassholder for dato 2"/>
          <p:cNvSpPr>
            <a:spLocks noGrp="1"/>
          </p:cNvSpPr>
          <p:nvPr>
            <p:ph type="dt"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6470FBC0-374E-C342-819D-7FB321E507B7}" type="datetimeFigureOut">
              <a:rPr lang="sv-SE" altLang="nb-NO"/>
              <a:pPr>
                <a:defRPr/>
              </a:pPr>
              <a:t>2023-02-27</a:t>
            </a:fld>
            <a:endParaRPr lang="sv-SE" alt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sv-SE" noProof="0"/>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wrap="square" lIns="91440" tIns="45720" rIns="91440" bIns="45720" numCol="1" anchor="t" anchorCtr="0" compatLnSpc="1">
            <a:prstTxWarp prst="textNoShape">
              <a:avLst/>
            </a:prstTxWarp>
          </a:bodyPr>
          <a:lstStyle/>
          <a:p>
            <a:pPr lvl="0"/>
            <a:r>
              <a:rPr lang="nb-NO" altLang="nb-NO" noProof="0"/>
              <a:t>Klikk for å redigere tekststiler i malen</a:t>
            </a:r>
          </a:p>
          <a:p>
            <a:pPr lvl="1"/>
            <a:r>
              <a:rPr lang="nb-NO" altLang="nb-NO" noProof="0"/>
              <a:t>Andre nivå</a:t>
            </a:r>
          </a:p>
          <a:p>
            <a:pPr lvl="2"/>
            <a:r>
              <a:rPr lang="nb-NO" altLang="nb-NO" noProof="0"/>
              <a:t>Tredje nivå</a:t>
            </a:r>
          </a:p>
          <a:p>
            <a:pPr lvl="3"/>
            <a:r>
              <a:rPr lang="nb-NO" altLang="nb-NO" noProof="0"/>
              <a:t>Fjerde nivå</a:t>
            </a:r>
          </a:p>
          <a:p>
            <a:pPr lvl="4"/>
            <a:r>
              <a:rPr lang="nb-NO" altLang="nb-NO" noProof="0"/>
              <a:t>Femte nivå</a:t>
            </a:r>
            <a:endParaRPr lang="sv-SE" altLang="nb-NO" noProof="0"/>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sv-SE"/>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3EAE5C95-E46A-A54E-8391-D1522C72DF32}" type="slidenum">
              <a:rPr lang="sv-SE" altLang="nb-NO"/>
              <a:pPr>
                <a:defRPr/>
              </a:pPr>
              <a:t>‹#›</a:t>
            </a:fld>
            <a:endParaRPr lang="sv-SE" altLang="nb-NO"/>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1</a:t>
            </a:fld>
            <a:endParaRPr lang="sv-SE" altLang="nb-NO" dirty="0"/>
          </a:p>
        </p:txBody>
      </p:sp>
    </p:spTree>
    <p:extLst>
      <p:ext uri="{BB962C8B-B14F-4D97-AF65-F5344CB8AC3E}">
        <p14:creationId xmlns:p14="http://schemas.microsoft.com/office/powerpoint/2010/main" val="2253406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10</a:t>
            </a:fld>
            <a:endParaRPr lang="sv-SE" altLang="nb-NO"/>
          </a:p>
        </p:txBody>
      </p:sp>
    </p:spTree>
    <p:extLst>
      <p:ext uri="{BB962C8B-B14F-4D97-AF65-F5344CB8AC3E}">
        <p14:creationId xmlns:p14="http://schemas.microsoft.com/office/powerpoint/2010/main" val="926720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11</a:t>
            </a:fld>
            <a:endParaRPr lang="sv-SE" altLang="nb-NO" dirty="0"/>
          </a:p>
        </p:txBody>
      </p:sp>
    </p:spTree>
    <p:extLst>
      <p:ext uri="{BB962C8B-B14F-4D97-AF65-F5344CB8AC3E}">
        <p14:creationId xmlns:p14="http://schemas.microsoft.com/office/powerpoint/2010/main" val="12195438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12</a:t>
            </a:fld>
            <a:endParaRPr lang="sv-SE" altLang="nb-NO"/>
          </a:p>
        </p:txBody>
      </p:sp>
    </p:spTree>
    <p:extLst>
      <p:ext uri="{BB962C8B-B14F-4D97-AF65-F5344CB8AC3E}">
        <p14:creationId xmlns:p14="http://schemas.microsoft.com/office/powerpoint/2010/main" val="35965527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13</a:t>
            </a:fld>
            <a:endParaRPr lang="sv-SE" altLang="nb-NO"/>
          </a:p>
        </p:txBody>
      </p:sp>
    </p:spTree>
    <p:extLst>
      <p:ext uri="{BB962C8B-B14F-4D97-AF65-F5344CB8AC3E}">
        <p14:creationId xmlns:p14="http://schemas.microsoft.com/office/powerpoint/2010/main" val="28720781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14</a:t>
            </a:fld>
            <a:endParaRPr lang="sv-SE" altLang="nb-NO"/>
          </a:p>
        </p:txBody>
      </p:sp>
    </p:spTree>
    <p:extLst>
      <p:ext uri="{BB962C8B-B14F-4D97-AF65-F5344CB8AC3E}">
        <p14:creationId xmlns:p14="http://schemas.microsoft.com/office/powerpoint/2010/main" val="41165972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3EAE5C95-E46A-A54E-8391-D1522C72DF32}" type="slidenum">
              <a:rPr lang="sv-SE" altLang="nb-NO" smtClean="0"/>
              <a:pPr>
                <a:defRPr/>
              </a:pPr>
              <a:t>15</a:t>
            </a:fld>
            <a:endParaRPr lang="sv-SE" altLang="nb-NO"/>
          </a:p>
        </p:txBody>
      </p:sp>
    </p:spTree>
    <p:extLst>
      <p:ext uri="{BB962C8B-B14F-4D97-AF65-F5344CB8AC3E}">
        <p14:creationId xmlns:p14="http://schemas.microsoft.com/office/powerpoint/2010/main" val="21273190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16</a:t>
            </a:fld>
            <a:endParaRPr lang="sv-SE" altLang="nb-NO"/>
          </a:p>
        </p:txBody>
      </p:sp>
    </p:spTree>
    <p:extLst>
      <p:ext uri="{BB962C8B-B14F-4D97-AF65-F5344CB8AC3E}">
        <p14:creationId xmlns:p14="http://schemas.microsoft.com/office/powerpoint/2010/main" val="8608674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17</a:t>
            </a:fld>
            <a:endParaRPr lang="sv-SE" altLang="nb-NO" dirty="0"/>
          </a:p>
        </p:txBody>
      </p:sp>
    </p:spTree>
    <p:extLst>
      <p:ext uri="{BB962C8B-B14F-4D97-AF65-F5344CB8AC3E}">
        <p14:creationId xmlns:p14="http://schemas.microsoft.com/office/powerpoint/2010/main" val="39628711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p>
        </p:txBody>
      </p:sp>
      <p:sp>
        <p:nvSpPr>
          <p:cNvPr id="4" name="Slide Number Placeholder 3"/>
          <p:cNvSpPr>
            <a:spLocks noGrp="1"/>
          </p:cNvSpPr>
          <p:nvPr>
            <p:ph type="sldNum" sz="quarter" idx="5"/>
          </p:nvPr>
        </p:nvSpPr>
        <p:spPr/>
        <p:txBody>
          <a:bodyPr/>
          <a:lstStyle/>
          <a:p>
            <a:pPr>
              <a:defRPr/>
            </a:pPr>
            <a:fld id="{3EAE5C95-E46A-A54E-8391-D1522C72DF32}" type="slidenum">
              <a:rPr lang="sv-SE" altLang="nb-NO" smtClean="0"/>
              <a:pPr>
                <a:defRPr/>
              </a:pPr>
              <a:t>18</a:t>
            </a:fld>
            <a:endParaRPr lang="sv-SE" altLang="nb-NO" dirty="0"/>
          </a:p>
        </p:txBody>
      </p:sp>
    </p:spTree>
    <p:extLst>
      <p:ext uri="{BB962C8B-B14F-4D97-AF65-F5344CB8AC3E}">
        <p14:creationId xmlns:p14="http://schemas.microsoft.com/office/powerpoint/2010/main" val="26512551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p>
        </p:txBody>
      </p:sp>
      <p:sp>
        <p:nvSpPr>
          <p:cNvPr id="4" name="Slide Number Placeholder 3"/>
          <p:cNvSpPr>
            <a:spLocks noGrp="1"/>
          </p:cNvSpPr>
          <p:nvPr>
            <p:ph type="sldNum" sz="quarter" idx="5"/>
          </p:nvPr>
        </p:nvSpPr>
        <p:spPr/>
        <p:txBody>
          <a:bodyPr/>
          <a:lstStyle/>
          <a:p>
            <a:pPr>
              <a:defRPr/>
            </a:pPr>
            <a:fld id="{3EAE5C95-E46A-A54E-8391-D1522C72DF32}" type="slidenum">
              <a:rPr lang="sv-SE" altLang="nb-NO" smtClean="0"/>
              <a:pPr>
                <a:defRPr/>
              </a:pPr>
              <a:t>19</a:t>
            </a:fld>
            <a:endParaRPr lang="sv-SE" altLang="nb-NO" dirty="0"/>
          </a:p>
        </p:txBody>
      </p:sp>
    </p:spTree>
    <p:extLst>
      <p:ext uri="{BB962C8B-B14F-4D97-AF65-F5344CB8AC3E}">
        <p14:creationId xmlns:p14="http://schemas.microsoft.com/office/powerpoint/2010/main" val="2279468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2</a:t>
            </a:fld>
            <a:endParaRPr lang="sv-SE" altLang="nb-NO" dirty="0"/>
          </a:p>
        </p:txBody>
      </p:sp>
    </p:spTree>
    <p:extLst>
      <p:ext uri="{BB962C8B-B14F-4D97-AF65-F5344CB8AC3E}">
        <p14:creationId xmlns:p14="http://schemas.microsoft.com/office/powerpoint/2010/main" val="27104078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20</a:t>
            </a:fld>
            <a:endParaRPr lang="sv-SE" altLang="nb-NO"/>
          </a:p>
        </p:txBody>
      </p:sp>
    </p:spTree>
    <p:extLst>
      <p:ext uri="{BB962C8B-B14F-4D97-AF65-F5344CB8AC3E}">
        <p14:creationId xmlns:p14="http://schemas.microsoft.com/office/powerpoint/2010/main" val="4191551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3</a:t>
            </a:fld>
            <a:endParaRPr lang="sv-SE" altLang="nb-NO" dirty="0"/>
          </a:p>
        </p:txBody>
      </p:sp>
    </p:spTree>
    <p:extLst>
      <p:ext uri="{BB962C8B-B14F-4D97-AF65-F5344CB8AC3E}">
        <p14:creationId xmlns:p14="http://schemas.microsoft.com/office/powerpoint/2010/main" val="1307571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a:xfrm>
            <a:off x="90488" y="746125"/>
            <a:ext cx="6615112" cy="3722688"/>
          </a:xfrm>
          <a:ln/>
        </p:spPr>
      </p:sp>
      <p:sp>
        <p:nvSpPr>
          <p:cNvPr id="71683" name="Notes Placeholder 2"/>
          <p:cNvSpPr>
            <a:spLocks noGrp="1"/>
          </p:cNvSpPr>
          <p:nvPr>
            <p:ph type="body" idx="1"/>
          </p:nvPr>
        </p:nvSpPr>
        <p:spPr>
          <a:xfrm>
            <a:off x="685800" y="4772508"/>
            <a:ext cx="5486400" cy="3600450"/>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buFontTx/>
              <a:buChar char="•"/>
            </a:pPr>
            <a:r>
              <a:rPr lang="nb-NO" altLang="en-US">
                <a:latin typeface="Lucida Grande"/>
                <a:ea typeface="ヒラギノ角ゴ Pro W3"/>
              </a:rPr>
              <a:t> </a:t>
            </a:r>
            <a:r>
              <a:rPr lang="en-US" altLang="en-US">
                <a:latin typeface="Lucida Grande"/>
                <a:ea typeface="ヒラギノ角ゴ Pro W3"/>
              </a:rPr>
              <a:t>And when we talk about the consumer, we talk about his or her house</a:t>
            </a:r>
          </a:p>
          <a:p>
            <a:pPr>
              <a:buFontTx/>
              <a:buChar char="•"/>
            </a:pPr>
            <a:endParaRPr lang="en-US" altLang="en-US">
              <a:latin typeface="Lucida Grande"/>
              <a:ea typeface="ヒラギノ角ゴ Pro W3"/>
            </a:endParaRPr>
          </a:p>
          <a:p>
            <a:pPr>
              <a:buFontTx/>
              <a:buChar char="•"/>
            </a:pPr>
            <a:r>
              <a:rPr lang="en-US" altLang="en-US">
                <a:latin typeface="Lucida Grande"/>
                <a:ea typeface="ヒラギノ角ゴ Pro W3"/>
              </a:rPr>
              <a:t> This is tomorrow’s house of a consumer</a:t>
            </a:r>
          </a:p>
          <a:p>
            <a:pPr>
              <a:buFontTx/>
              <a:buChar char="•"/>
            </a:pPr>
            <a:endParaRPr lang="en-US" altLang="en-US">
              <a:latin typeface="Lucida Grande"/>
              <a:ea typeface="ヒラギノ角ゴ Pro W3"/>
            </a:endParaRPr>
          </a:p>
          <a:p>
            <a:pPr>
              <a:buFontTx/>
              <a:buChar char="•"/>
            </a:pPr>
            <a:r>
              <a:rPr lang="en-US" altLang="en-US">
                <a:latin typeface="Lucida Grande"/>
                <a:ea typeface="ヒラギノ角ゴ Pro W3"/>
              </a:rPr>
              <a:t> But in principle a commercial building or an industry complex can install the same devices – even today. Coming back to my theme of ”Tomorrow today”</a:t>
            </a:r>
          </a:p>
          <a:p>
            <a:pPr>
              <a:buFontTx/>
              <a:buChar char="•"/>
            </a:pPr>
            <a:endParaRPr lang="en-US" altLang="en-US">
              <a:latin typeface="Lucida Grande"/>
              <a:ea typeface="ヒラギノ角ゴ Pro W3"/>
            </a:endParaRPr>
          </a:p>
          <a:p>
            <a:pPr>
              <a:buFontTx/>
              <a:buChar char="•"/>
            </a:pPr>
            <a:r>
              <a:rPr lang="en-US" altLang="en-US">
                <a:latin typeface="Lucida Grande"/>
                <a:ea typeface="ヒラギノ角ゴ Pro W3"/>
              </a:rPr>
              <a:t>  </a:t>
            </a:r>
            <a:r>
              <a:rPr lang="en-US" altLang="en-US" err="1">
                <a:latin typeface="Lucida Grande"/>
                <a:ea typeface="ヒラギノ角ゴ Pro W3"/>
              </a:rPr>
              <a:t>Gå</a:t>
            </a:r>
            <a:r>
              <a:rPr lang="en-US" altLang="en-US">
                <a:latin typeface="Lucida Grande"/>
                <a:ea typeface="ヒラギノ角ゴ Pro W3"/>
              </a:rPr>
              <a:t> </a:t>
            </a:r>
            <a:r>
              <a:rPr lang="en-US" altLang="en-US" err="1">
                <a:latin typeface="Lucida Grande"/>
                <a:ea typeface="ヒラギノ角ゴ Pro W3"/>
              </a:rPr>
              <a:t>gjennom</a:t>
            </a:r>
            <a:r>
              <a:rPr lang="en-US" altLang="en-US">
                <a:latin typeface="Lucida Grande"/>
                <a:ea typeface="ヒラギノ角ゴ Pro W3"/>
              </a:rPr>
              <a:t> </a:t>
            </a:r>
            <a:r>
              <a:rPr lang="en-US" altLang="en-US" err="1">
                <a:latin typeface="Lucida Grande"/>
                <a:ea typeface="ヒラギノ角ゴ Pro W3"/>
              </a:rPr>
              <a:t>hvert</a:t>
            </a:r>
            <a:r>
              <a:rPr lang="en-US" altLang="en-US">
                <a:latin typeface="Lucida Grande"/>
                <a:ea typeface="ヒラギノ角ゴ Pro W3"/>
              </a:rPr>
              <a:t> pkt. </a:t>
            </a:r>
            <a:r>
              <a:rPr lang="en-US" altLang="en-US" err="1">
                <a:latin typeface="Lucida Grande"/>
                <a:ea typeface="ヒラギノ角ゴ Pro W3"/>
              </a:rPr>
              <a:t>hvis</a:t>
            </a:r>
            <a:r>
              <a:rPr lang="en-US" altLang="en-US">
                <a:latin typeface="Lucida Grande"/>
                <a:ea typeface="ヒラギノ角ゴ Pro W3"/>
              </a:rPr>
              <a:t> </a:t>
            </a:r>
            <a:r>
              <a:rPr lang="en-US" altLang="en-US" err="1">
                <a:latin typeface="Lucida Grande"/>
                <a:ea typeface="ヒラギノ角ゴ Pro W3"/>
              </a:rPr>
              <a:t>tid</a:t>
            </a:r>
            <a:r>
              <a:rPr lang="en-US" altLang="en-US">
                <a:latin typeface="Lucida Grande"/>
                <a:ea typeface="ヒラギノ角ゴ Pro W3"/>
              </a:rPr>
              <a:t>.</a:t>
            </a:r>
          </a:p>
          <a:p>
            <a:pPr>
              <a:buFontTx/>
              <a:buChar char="•"/>
            </a:pPr>
            <a:endParaRPr lang="en-US" altLang="en-US">
              <a:latin typeface="Lucida Grande"/>
              <a:ea typeface="ヒラギノ角ゴ Pro W3"/>
            </a:endParaRPr>
          </a:p>
          <a:p>
            <a:pPr>
              <a:buFontTx/>
              <a:buChar char="•"/>
            </a:pPr>
            <a:r>
              <a:rPr lang="en-US" altLang="en-US">
                <a:latin typeface="Lucida Grande"/>
                <a:ea typeface="ヒラギノ角ゴ Pro W3"/>
              </a:rPr>
              <a:t>It is about smart managing of the energy system</a:t>
            </a:r>
          </a:p>
          <a:p>
            <a:pPr>
              <a:buFontTx/>
              <a:buChar char="•"/>
            </a:pPr>
            <a:endParaRPr lang="en-US" altLang="en-US">
              <a:latin typeface="Lucida Grande"/>
              <a:ea typeface="ヒラギノ角ゴ Pro W3"/>
            </a:endParaRPr>
          </a:p>
          <a:p>
            <a:pPr>
              <a:buFontTx/>
              <a:buChar char="•"/>
            </a:pPr>
            <a:r>
              <a:rPr lang="en-US" altLang="en-US">
                <a:latin typeface="Lucida Grande"/>
                <a:ea typeface="ヒラギノ角ゴ Pro W3"/>
              </a:rPr>
              <a:t>Out of which the </a:t>
            </a:r>
            <a:r>
              <a:rPr lang="en-US" altLang="en-US" err="1">
                <a:latin typeface="Lucida Grande"/>
                <a:ea typeface="ヒラギノ角ゴ Pro W3"/>
              </a:rPr>
              <a:t>electons</a:t>
            </a:r>
            <a:r>
              <a:rPr lang="en-US" altLang="en-US">
                <a:latin typeface="Lucida Grande"/>
                <a:ea typeface="ヒラギノ角ゴ Pro W3"/>
              </a:rPr>
              <a:t> are </a:t>
            </a:r>
            <a:r>
              <a:rPr lang="en-US" altLang="en-US" err="1">
                <a:latin typeface="Lucida Grande"/>
                <a:ea typeface="ヒラギノ角ゴ Pro W3"/>
              </a:rPr>
              <a:t>justs</a:t>
            </a:r>
            <a:r>
              <a:rPr lang="en-US" altLang="en-US">
                <a:latin typeface="Lucida Grande"/>
                <a:ea typeface="ヒラギノ角ゴ Pro W3"/>
              </a:rPr>
              <a:t> one part</a:t>
            </a:r>
            <a:r>
              <a:rPr lang="mr-IN" altLang="en-US">
                <a:latin typeface="Lucida Grande"/>
                <a:ea typeface="ヒラギノ角ゴ Pro W3"/>
              </a:rPr>
              <a:t>…</a:t>
            </a:r>
            <a:r>
              <a:rPr lang="nb-NO" altLang="en-US">
                <a:latin typeface="Lucida Grande"/>
                <a:ea typeface="ヒラギノ角ゴ Pro W3"/>
              </a:rPr>
              <a:t>.</a:t>
            </a:r>
            <a:endParaRPr lang="en-US" altLang="en-US">
              <a:latin typeface="Lucida Grande"/>
              <a:ea typeface="ヒラギノ角ゴ Pro W3"/>
            </a:endParaRPr>
          </a:p>
        </p:txBody>
      </p:sp>
      <p:sp>
        <p:nvSpPr>
          <p:cNvPr id="71684"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883" indent="-285725" eaLnBrk="0" hangingPunct="0">
              <a:defRPr sz="2400">
                <a:solidFill>
                  <a:schemeClr val="tx1"/>
                </a:solidFill>
                <a:latin typeface="Arial" pitchFamily="34" charset="0"/>
                <a:ea typeface="ヒラギノ角ゴ Pro W3"/>
                <a:cs typeface="ヒラギノ角ゴ Pro W3"/>
              </a:defRPr>
            </a:lvl2pPr>
            <a:lvl3pPr marL="1142897" indent="-228580" eaLnBrk="0" hangingPunct="0">
              <a:defRPr sz="2400">
                <a:solidFill>
                  <a:schemeClr val="tx1"/>
                </a:solidFill>
                <a:latin typeface="Arial" pitchFamily="34" charset="0"/>
                <a:ea typeface="ヒラギノ角ゴ Pro W3"/>
                <a:cs typeface="ヒラギノ角ゴ Pro W3"/>
              </a:defRPr>
            </a:lvl3pPr>
            <a:lvl4pPr marL="1600056" indent="-228580" eaLnBrk="0" hangingPunct="0">
              <a:defRPr sz="2400">
                <a:solidFill>
                  <a:schemeClr val="tx1"/>
                </a:solidFill>
                <a:latin typeface="Arial" pitchFamily="34" charset="0"/>
                <a:ea typeface="ヒラギノ角ゴ Pro W3"/>
                <a:cs typeface="ヒラギノ角ゴ Pro W3"/>
              </a:defRPr>
            </a:lvl4pPr>
            <a:lvl5pPr marL="2057214" indent="-228580" eaLnBrk="0" hangingPunct="0">
              <a:defRPr sz="2400">
                <a:solidFill>
                  <a:schemeClr val="tx1"/>
                </a:solidFill>
                <a:latin typeface="Arial" pitchFamily="34" charset="0"/>
                <a:ea typeface="ヒラギノ角ゴ Pro W3"/>
                <a:cs typeface="ヒラギノ角ゴ Pro W3"/>
              </a:defRPr>
            </a:lvl5pPr>
            <a:lvl6pPr marL="2514373" indent="-22858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532" indent="-22858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8691" indent="-22858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5849" indent="-22858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fld id="{EF6C981C-4692-43D8-9ED4-87930D1E76D4}" type="slidenum">
              <a:rPr lang="nb-NO" altLang="en-US" sz="1200">
                <a:latin typeface="Lucida Grande"/>
              </a:rPr>
              <a:pPr/>
              <a:t>4</a:t>
            </a:fld>
            <a:endParaRPr lang="nb-NO" altLang="en-US" sz="1200">
              <a:latin typeface="Lucida Grande"/>
            </a:endParaRPr>
          </a:p>
        </p:txBody>
      </p:sp>
    </p:spTree>
    <p:extLst>
      <p:ext uri="{BB962C8B-B14F-4D97-AF65-F5344CB8AC3E}">
        <p14:creationId xmlns:p14="http://schemas.microsoft.com/office/powerpoint/2010/main" val="33553980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5</a:t>
            </a:fld>
            <a:endParaRPr lang="sv-SE" altLang="nb-NO" dirty="0"/>
          </a:p>
        </p:txBody>
      </p:sp>
    </p:spTree>
    <p:extLst>
      <p:ext uri="{BB962C8B-B14F-4D97-AF65-F5344CB8AC3E}">
        <p14:creationId xmlns:p14="http://schemas.microsoft.com/office/powerpoint/2010/main" val="3999042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6</a:t>
            </a:fld>
            <a:endParaRPr lang="sv-SE" altLang="nb-NO" dirty="0"/>
          </a:p>
        </p:txBody>
      </p:sp>
    </p:spTree>
    <p:extLst>
      <p:ext uri="{BB962C8B-B14F-4D97-AF65-F5344CB8AC3E}">
        <p14:creationId xmlns:p14="http://schemas.microsoft.com/office/powerpoint/2010/main" val="3195804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7</a:t>
            </a:fld>
            <a:endParaRPr lang="sv-SE" altLang="nb-NO" dirty="0"/>
          </a:p>
        </p:txBody>
      </p:sp>
    </p:spTree>
    <p:extLst>
      <p:ext uri="{BB962C8B-B14F-4D97-AF65-F5344CB8AC3E}">
        <p14:creationId xmlns:p14="http://schemas.microsoft.com/office/powerpoint/2010/main" val="4273854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8</a:t>
            </a:fld>
            <a:endParaRPr lang="sv-SE" altLang="nb-NO" dirty="0"/>
          </a:p>
        </p:txBody>
      </p:sp>
    </p:spTree>
    <p:extLst>
      <p:ext uri="{BB962C8B-B14F-4D97-AF65-F5344CB8AC3E}">
        <p14:creationId xmlns:p14="http://schemas.microsoft.com/office/powerpoint/2010/main" val="32350064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3EAE5C95-E46A-A54E-8391-D1522C72DF32}" type="slidenum">
              <a:rPr lang="sv-SE" altLang="nb-NO" smtClean="0"/>
              <a:pPr>
                <a:defRPr/>
              </a:pPr>
              <a:t>9</a:t>
            </a:fld>
            <a:endParaRPr lang="sv-SE" altLang="nb-NO"/>
          </a:p>
        </p:txBody>
      </p:sp>
    </p:spTree>
    <p:extLst>
      <p:ext uri="{BB962C8B-B14F-4D97-AF65-F5344CB8AC3E}">
        <p14:creationId xmlns:p14="http://schemas.microsoft.com/office/powerpoint/2010/main" val="33132183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file:////Volumes/Neo%20Files/Smart%20Energy%20Innovation/Utforming/Pics/shutterstock_63825778_5Mb.jp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file:////Volumes/Neo%20Files/Smart%20Energy%20Innovation/Utforming/SEN_Logo_Pos.png" TargetMode="External"/></Relationships>
</file>

<file path=ppt/slideLayouts/_rels/slideLayout10.xml.rels><?xml version="1.0" encoding="UTF-8" standalone="yes"?>
<Relationships xmlns="http://schemas.openxmlformats.org/package/2006/relationships"><Relationship Id="rId3" Type="http://schemas.openxmlformats.org/officeDocument/2006/relationships/image" Target="file:////Volumes/Neo%20Files/Smart%20Energy%20Innovation/Utforming/SEN_Logo_Neg.png"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file:////Volumes/Neo%20Files/Smart%20Energy%20Innovation/Utforming/Pics/shutterstock_63825778_5Mb.jpg" TargetMode="External"/><Relationship Id="rId1" Type="http://schemas.openxmlformats.org/officeDocument/2006/relationships/slideMaster" Target="../slideMasters/slideMaster1.xml"/><Relationship Id="rId4" Type="http://schemas.openxmlformats.org/officeDocument/2006/relationships/image" Target="file:////Volumes/Neo%20Files/Smart%20Energy%20Innovation/Utforming/SEN_Logo_Neg.png" TargetMode="External"/></Relationships>
</file>

<file path=ppt/slideLayouts/_rels/slideLayout12.xml.rels><?xml version="1.0" encoding="UTF-8" standalone="yes"?>
<Relationships xmlns="http://schemas.openxmlformats.org/package/2006/relationships"><Relationship Id="rId3" Type="http://schemas.openxmlformats.org/officeDocument/2006/relationships/image" Target="file:////Volumes/Neo%20Files/Smart%20Energy%20Innovation/Utforming/SEN_Logo_Neg.png"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file:////Volumes/Neo%20Files/Smart%20Energy%20Innovation/Utforming/SEN_Logo_Pos.png" TargetMode="Externa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file:////Volumes/Neo%20Files/Smart%20Energy%20Innovation/Utforming/SEN_Logo_Pos.png" TargetMode="External"/><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file:////Volumes/Neo%20Files/Smart%20Energy%20Innovation/Utforming/SEN_Logo_Neg.png"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file:////Volumes/Neo%20Files/Smart%20Energy%20Innovation/Utforming/SEN_Logo_Neg.png"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file:////Volumes/Neo%20Files/Smart%20Energy%20Innovation/Utforming/SEN_Logo_Neg.png"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file:////Volumes/Neo%20Files/Smart%20Energy%20Innovation/Utforming/SEN_Logo_Neg.png"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file:////Volumes/Neo%20Files/Smart%20Energy%20Innovation/Utforming/SEN_Logo_Neg.png"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pic>
        <p:nvPicPr>
          <p:cNvPr id="4" name="Bilde 6" descr="/Volumes/Neo Files/Smart Energy Innovation/Utforming/Pics/shutterstock_63825778_5Mb.jpg"/>
          <p:cNvPicPr>
            <a:picLocks noChangeAspect="1"/>
          </p:cNvPicPr>
          <p:nvPr userDrawn="1"/>
        </p:nvPicPr>
        <p:blipFill>
          <a:blip r:embed="rId2" r:link="rId3">
            <a:extLst>
              <a:ext uri="{28A0092B-C50C-407E-A947-70E740481C1C}">
                <a14:useLocalDpi xmlns:a14="http://schemas.microsoft.com/office/drawing/2010/main" val="0"/>
              </a:ext>
            </a:extLst>
          </a:blip>
          <a:srcRect/>
          <a:stretch>
            <a:fillRect/>
          </a:stretch>
        </p:blipFill>
        <p:spPr bwMode="auto">
          <a:xfrm>
            <a:off x="0" y="-1292225"/>
            <a:ext cx="12258675" cy="817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ktangel 4"/>
          <p:cNvSpPr/>
          <p:nvPr userDrawn="1"/>
        </p:nvSpPr>
        <p:spPr>
          <a:xfrm>
            <a:off x="0" y="0"/>
            <a:ext cx="12192000" cy="158273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sv-SE"/>
          </a:p>
        </p:txBody>
      </p:sp>
      <p:pic>
        <p:nvPicPr>
          <p:cNvPr id="6" name="Bilde 8" descr="/Volumes/Neo Files/Smart Energy Innovation/Utforming/SEN_Logo_Pos.png"/>
          <p:cNvPicPr>
            <a:picLocks noChangeAspect="1"/>
          </p:cNvPicPr>
          <p:nvPr userDrawn="1"/>
        </p:nvPicPr>
        <p:blipFill>
          <a:blip r:embed="rId2" r:link="rId4">
            <a:extLst>
              <a:ext uri="{28A0092B-C50C-407E-A947-70E740481C1C}">
                <a14:useLocalDpi xmlns:a14="http://schemas.microsoft.com/office/drawing/2010/main" val="0"/>
              </a:ext>
            </a:extLst>
          </a:blip>
          <a:srcRect/>
          <a:stretch>
            <a:fillRect/>
          </a:stretch>
        </p:blipFill>
        <p:spPr bwMode="auto">
          <a:xfrm>
            <a:off x="333375" y="273050"/>
            <a:ext cx="2679700" cy="12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ctrTitle"/>
          </p:nvPr>
        </p:nvSpPr>
        <p:spPr>
          <a:xfrm>
            <a:off x="1378486" y="1930400"/>
            <a:ext cx="9541933" cy="524932"/>
          </a:xfrm>
        </p:spPr>
        <p:txBody>
          <a:bodyPr/>
          <a:lstStyle>
            <a:lvl1pPr algn="l">
              <a:defRPr sz="2800"/>
            </a:lvl1pPr>
          </a:lstStyle>
          <a:p>
            <a:r>
              <a:rPr lang="nb-NO" noProof="0" dirty="0"/>
              <a:t>Klikk for å redigere tittelstil</a:t>
            </a:r>
          </a:p>
        </p:txBody>
      </p:sp>
      <p:sp>
        <p:nvSpPr>
          <p:cNvPr id="3" name="Undertittel 2"/>
          <p:cNvSpPr>
            <a:spLocks noGrp="1"/>
          </p:cNvSpPr>
          <p:nvPr>
            <p:ph type="subTitle" idx="1"/>
          </p:nvPr>
        </p:nvSpPr>
        <p:spPr>
          <a:xfrm>
            <a:off x="1378486" y="2463800"/>
            <a:ext cx="9541933" cy="668868"/>
          </a:xfrm>
        </p:spPr>
        <p:txBody>
          <a:bodyPr>
            <a:normAutofit/>
          </a:bodyPr>
          <a:lstStyle>
            <a:lvl1pPr marL="0" indent="0" algn="l">
              <a:lnSpc>
                <a:spcPct val="90000"/>
              </a:lnSpc>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Klikk for å redigere undertittelstil i malen</a:t>
            </a:r>
            <a:endParaRPr lang="nb-NO" noProof="0" dirty="0"/>
          </a:p>
        </p:txBody>
      </p:sp>
    </p:spTree>
    <p:extLst>
      <p:ext uri="{BB962C8B-B14F-4D97-AF65-F5344CB8AC3E}">
        <p14:creationId xmlns:p14="http://schemas.microsoft.com/office/powerpoint/2010/main" val="862613483"/>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collage editable 2">
    <p:spTree>
      <p:nvGrpSpPr>
        <p:cNvPr id="1" name=""/>
        <p:cNvGrpSpPr/>
        <p:nvPr/>
      </p:nvGrpSpPr>
      <p:grpSpPr>
        <a:xfrm>
          <a:off x="0" y="0"/>
          <a:ext cx="0" cy="0"/>
          <a:chOff x="0" y="0"/>
          <a:chExt cx="0" cy="0"/>
        </a:xfrm>
      </p:grpSpPr>
      <p:sp>
        <p:nvSpPr>
          <p:cNvPr id="8" name="Rektangel 7"/>
          <p:cNvSpPr/>
          <p:nvPr userDrawn="1"/>
        </p:nvSpPr>
        <p:spPr>
          <a:xfrm>
            <a:off x="0" y="0"/>
            <a:ext cx="12192000" cy="1582738"/>
          </a:xfrm>
          <a:prstGeom prst="rect">
            <a:avLst/>
          </a:prstGeom>
          <a:solidFill>
            <a:schemeClr val="tx1">
              <a:lumMod val="85000"/>
              <a:lumOff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sv-SE"/>
          </a:p>
        </p:txBody>
      </p:sp>
      <p:pic>
        <p:nvPicPr>
          <p:cNvPr id="9" name="Bilde 7" descr="/Volumes/Neo Files/Smart Energy Innovation/Utforming/SEN_Logo_Neg.png"/>
          <p:cNvPicPr>
            <a:picLocks noChangeAspect="1"/>
          </p:cNvPicPr>
          <p:nvPr userDrawn="1"/>
        </p:nvPicPr>
        <p:blipFill>
          <a:blip r:embed="rId2" r:link="rId3">
            <a:extLst>
              <a:ext uri="{28A0092B-C50C-407E-A947-70E740481C1C}">
                <a14:useLocalDpi xmlns:a14="http://schemas.microsoft.com/office/drawing/2010/main" val="0"/>
              </a:ext>
            </a:extLst>
          </a:blip>
          <a:srcRect/>
          <a:stretch>
            <a:fillRect/>
          </a:stretch>
        </p:blipFill>
        <p:spPr bwMode="auto">
          <a:xfrm>
            <a:off x="493713" y="282575"/>
            <a:ext cx="2535237"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Plassholder for bilde 9"/>
          <p:cNvSpPr>
            <a:spLocks noGrp="1"/>
          </p:cNvSpPr>
          <p:nvPr>
            <p:ph type="pic" sz="quarter" idx="16"/>
          </p:nvPr>
        </p:nvSpPr>
        <p:spPr>
          <a:xfrm>
            <a:off x="0" y="1582738"/>
            <a:ext cx="6085864" cy="2633662"/>
          </a:xfrm>
        </p:spPr>
        <p:txBody>
          <a:bodyPr rtlCol="0">
            <a:normAutofit/>
          </a:bodyPr>
          <a:lstStyle/>
          <a:p>
            <a:pPr lvl="0"/>
            <a:r>
              <a:rPr lang="nb-NO" noProof="0"/>
              <a:t>Klikk ikonet for å legge til et bilde</a:t>
            </a:r>
          </a:p>
        </p:txBody>
      </p:sp>
      <p:sp>
        <p:nvSpPr>
          <p:cNvPr id="14" name="Plassholder for bilde 9"/>
          <p:cNvSpPr>
            <a:spLocks noGrp="1"/>
          </p:cNvSpPr>
          <p:nvPr>
            <p:ph type="pic" sz="quarter" idx="22"/>
          </p:nvPr>
        </p:nvSpPr>
        <p:spPr>
          <a:xfrm>
            <a:off x="6081824" y="1582738"/>
            <a:ext cx="3044952" cy="5275262"/>
          </a:xfrm>
        </p:spPr>
        <p:txBody>
          <a:bodyPr rtlCol="0">
            <a:normAutofit/>
          </a:bodyPr>
          <a:lstStyle/>
          <a:p>
            <a:pPr lvl="0"/>
            <a:r>
              <a:rPr lang="nb-NO" noProof="0"/>
              <a:t>Klikk ikonet for å legge til et bilde</a:t>
            </a:r>
          </a:p>
        </p:txBody>
      </p:sp>
      <p:sp>
        <p:nvSpPr>
          <p:cNvPr id="2" name="Tittel 1"/>
          <p:cNvSpPr>
            <a:spLocks noGrp="1"/>
          </p:cNvSpPr>
          <p:nvPr>
            <p:ph type="title"/>
          </p:nvPr>
        </p:nvSpPr>
        <p:spPr>
          <a:xfrm>
            <a:off x="9491402" y="1966401"/>
            <a:ext cx="2342635" cy="881912"/>
          </a:xfrm>
        </p:spPr>
        <p:txBody>
          <a:bodyPr/>
          <a:lstStyle>
            <a:lvl1pPr>
              <a:defRPr sz="1600"/>
            </a:lvl1pPr>
          </a:lstStyle>
          <a:p>
            <a:r>
              <a:rPr lang="nb-NO"/>
              <a:t>Klikk for å redigere tittelstil</a:t>
            </a:r>
            <a:endParaRPr lang="sv-SE" dirty="0"/>
          </a:p>
        </p:txBody>
      </p:sp>
      <p:sp>
        <p:nvSpPr>
          <p:cNvPr id="3" name="Plassholder for innhold 2"/>
          <p:cNvSpPr>
            <a:spLocks noGrp="1"/>
          </p:cNvSpPr>
          <p:nvPr>
            <p:ph idx="1"/>
          </p:nvPr>
        </p:nvSpPr>
        <p:spPr>
          <a:xfrm>
            <a:off x="9491402" y="2862354"/>
            <a:ext cx="2342635" cy="970910"/>
          </a:xfrm>
        </p:spPr>
        <p:txBody>
          <a:bodyPr>
            <a:normAutofit/>
          </a:bodyPr>
          <a:lstStyle>
            <a:lvl1pPr marL="0" indent="0">
              <a:buFontTx/>
              <a:buNone/>
              <a:defRPr sz="14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b-NO"/>
              <a:t>Klikk for å redigere tekststiler i malen</a:t>
            </a:r>
          </a:p>
        </p:txBody>
      </p:sp>
      <p:sp>
        <p:nvSpPr>
          <p:cNvPr id="10" name="Plassholder for bilde 9"/>
          <p:cNvSpPr>
            <a:spLocks noGrp="1"/>
          </p:cNvSpPr>
          <p:nvPr>
            <p:ph type="pic" sz="quarter" idx="19"/>
          </p:nvPr>
        </p:nvSpPr>
        <p:spPr>
          <a:xfrm>
            <a:off x="0" y="4220369"/>
            <a:ext cx="3044952" cy="2633662"/>
          </a:xfrm>
        </p:spPr>
        <p:txBody>
          <a:bodyPr rtlCol="0">
            <a:normAutofit/>
          </a:bodyPr>
          <a:lstStyle/>
          <a:p>
            <a:pPr lvl="0"/>
            <a:r>
              <a:rPr lang="nb-NO" noProof="0"/>
              <a:t>Klikk ikonet for å legge til et bilde</a:t>
            </a:r>
          </a:p>
        </p:txBody>
      </p:sp>
      <p:sp>
        <p:nvSpPr>
          <p:cNvPr id="13" name="Plassholder for bilde 9"/>
          <p:cNvSpPr>
            <a:spLocks noGrp="1"/>
          </p:cNvSpPr>
          <p:nvPr>
            <p:ph type="pic" sz="quarter" idx="21"/>
          </p:nvPr>
        </p:nvSpPr>
        <p:spPr>
          <a:xfrm>
            <a:off x="3040912" y="4220369"/>
            <a:ext cx="3044952" cy="2633662"/>
          </a:xfrm>
        </p:spPr>
        <p:txBody>
          <a:bodyPr rtlCol="0">
            <a:normAutofit/>
          </a:bodyPr>
          <a:lstStyle/>
          <a:p>
            <a:pPr lvl="0"/>
            <a:r>
              <a:rPr lang="nb-NO" noProof="0"/>
              <a:t>Klikk ikonet for å legge til et bilde</a:t>
            </a:r>
          </a:p>
        </p:txBody>
      </p:sp>
    </p:spTree>
    <p:extLst>
      <p:ext uri="{BB962C8B-B14F-4D97-AF65-F5344CB8AC3E}">
        <p14:creationId xmlns:p14="http://schemas.microsoft.com/office/powerpoint/2010/main" val="1348837823"/>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nal">
    <p:spTree>
      <p:nvGrpSpPr>
        <p:cNvPr id="1" name=""/>
        <p:cNvGrpSpPr/>
        <p:nvPr/>
      </p:nvGrpSpPr>
      <p:grpSpPr>
        <a:xfrm>
          <a:off x="0" y="0"/>
          <a:ext cx="0" cy="0"/>
          <a:chOff x="0" y="0"/>
          <a:chExt cx="0" cy="0"/>
        </a:xfrm>
      </p:grpSpPr>
      <p:pic>
        <p:nvPicPr>
          <p:cNvPr id="3" name="Bilde 6" descr="/Volumes/Neo Files/Smart Energy Innovation/Utforming/Pics/shutterstock_63825778_5Mb.jpg"/>
          <p:cNvPicPr>
            <a:picLocks noChangeAspect="1"/>
          </p:cNvPicPr>
          <p:nvPr userDrawn="1"/>
        </p:nvPicPr>
        <p:blipFill>
          <a:blip r:link="rId2">
            <a:extLst>
              <a:ext uri="{28A0092B-C50C-407E-A947-70E740481C1C}">
                <a14:useLocalDpi xmlns:a14="http://schemas.microsoft.com/office/drawing/2010/main" val="0"/>
              </a:ext>
            </a:extLst>
          </a:blip>
          <a:srcRect/>
          <a:stretch>
            <a:fillRect/>
          </a:stretch>
        </p:blipFill>
        <p:spPr bwMode="auto">
          <a:xfrm>
            <a:off x="-57150" y="-1330325"/>
            <a:ext cx="12315825" cy="821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descr="/Volumes/Neo Files/Smart Energy Innovation/Utforming/SEN_Logo_Neg.png"/>
          <p:cNvPicPr>
            <a:picLocks noChangeAspect="1"/>
          </p:cNvPicPr>
          <p:nvPr userDrawn="1"/>
        </p:nvPicPr>
        <p:blipFill>
          <a:blip r:embed="rId3" r:link="rId4">
            <a:extLst>
              <a:ext uri="{28A0092B-C50C-407E-A947-70E740481C1C}">
                <a14:useLocalDpi xmlns:a14="http://schemas.microsoft.com/office/drawing/2010/main" val="0"/>
              </a:ext>
            </a:extLst>
          </a:blip>
          <a:srcRect/>
          <a:stretch>
            <a:fillRect/>
          </a:stretch>
        </p:blipFill>
        <p:spPr bwMode="auto">
          <a:xfrm>
            <a:off x="423863" y="625475"/>
            <a:ext cx="4337050" cy="168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lassholder for innhold 2"/>
          <p:cNvSpPr>
            <a:spLocks noGrp="1"/>
          </p:cNvSpPr>
          <p:nvPr>
            <p:ph idx="1"/>
          </p:nvPr>
        </p:nvSpPr>
        <p:spPr>
          <a:xfrm>
            <a:off x="2314683" y="2874187"/>
            <a:ext cx="8562967" cy="1440781"/>
          </a:xfrm>
        </p:spPr>
        <p:txBody>
          <a:bodyPr>
            <a:normAutofit/>
          </a:bodyPr>
          <a:lstStyle>
            <a:lvl1pPr marL="0" indent="0" algn="l">
              <a:buFontTx/>
              <a:buNone/>
              <a:defRPr sz="2000" b="1" i="0">
                <a:solidFill>
                  <a:schemeClr val="tx1">
                    <a:lumMod val="85000"/>
                    <a:lumOff val="1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b-NO" dirty="0"/>
              <a:t>Klikk for å redigere tekststiler i malen</a:t>
            </a:r>
          </a:p>
        </p:txBody>
      </p:sp>
    </p:spTree>
    <p:extLst>
      <p:ext uri="{BB962C8B-B14F-4D97-AF65-F5344CB8AC3E}">
        <p14:creationId xmlns:p14="http://schemas.microsoft.com/office/powerpoint/2010/main" val="1079913429"/>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nal editable image">
    <p:spTree>
      <p:nvGrpSpPr>
        <p:cNvPr id="1" name=""/>
        <p:cNvGrpSpPr/>
        <p:nvPr/>
      </p:nvGrpSpPr>
      <p:grpSpPr>
        <a:xfrm>
          <a:off x="0" y="0"/>
          <a:ext cx="0" cy="0"/>
          <a:chOff x="0" y="0"/>
          <a:chExt cx="0" cy="0"/>
        </a:xfrm>
      </p:grpSpPr>
      <p:sp>
        <p:nvSpPr>
          <p:cNvPr id="4" name="Rektangel 3"/>
          <p:cNvSpPr/>
          <p:nvPr userDrawn="1"/>
        </p:nvSpPr>
        <p:spPr>
          <a:xfrm>
            <a:off x="0" y="4970463"/>
            <a:ext cx="12192000" cy="1887537"/>
          </a:xfrm>
          <a:prstGeom prst="rect">
            <a:avLst/>
          </a:prstGeom>
          <a:solidFill>
            <a:schemeClr val="tx1">
              <a:lumMod val="85000"/>
              <a:lumOff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sv-SE"/>
          </a:p>
        </p:txBody>
      </p:sp>
      <p:pic>
        <p:nvPicPr>
          <p:cNvPr id="5" name="Bilde 7" descr="/Volumes/Neo Files/Smart Energy Innovation/Utforming/SEN_Logo_Neg.png"/>
          <p:cNvPicPr>
            <a:picLocks noChangeAspect="1"/>
          </p:cNvPicPr>
          <p:nvPr userDrawn="1"/>
        </p:nvPicPr>
        <p:blipFill>
          <a:blip r:embed="rId2" r:link="rId3">
            <a:extLst>
              <a:ext uri="{28A0092B-C50C-407E-A947-70E740481C1C}">
                <a14:useLocalDpi xmlns:a14="http://schemas.microsoft.com/office/drawing/2010/main" val="0"/>
              </a:ext>
            </a:extLst>
          </a:blip>
          <a:srcRect/>
          <a:stretch>
            <a:fillRect/>
          </a:stretch>
        </p:blipFill>
        <p:spPr bwMode="auto">
          <a:xfrm>
            <a:off x="493713" y="5362575"/>
            <a:ext cx="2535237"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lassholder for bilde 2"/>
          <p:cNvSpPr>
            <a:spLocks noGrp="1"/>
          </p:cNvSpPr>
          <p:nvPr>
            <p:ph type="pic" sz="quarter" idx="10"/>
          </p:nvPr>
        </p:nvSpPr>
        <p:spPr>
          <a:xfrm>
            <a:off x="0" y="-1"/>
            <a:ext cx="12192000" cy="4977598"/>
          </a:xfrm>
        </p:spPr>
        <p:txBody>
          <a:bodyPr rtlCol="0">
            <a:normAutofit/>
          </a:bodyPr>
          <a:lstStyle/>
          <a:p>
            <a:pPr lvl="0"/>
            <a:r>
              <a:rPr lang="nb-NO" noProof="0"/>
              <a:t>Klikk ikonet for å legge til et bilde</a:t>
            </a:r>
          </a:p>
        </p:txBody>
      </p:sp>
      <p:sp>
        <p:nvSpPr>
          <p:cNvPr id="7" name="Plassholder for innhold 2"/>
          <p:cNvSpPr>
            <a:spLocks noGrp="1"/>
          </p:cNvSpPr>
          <p:nvPr>
            <p:ph idx="1"/>
          </p:nvPr>
        </p:nvSpPr>
        <p:spPr>
          <a:xfrm>
            <a:off x="5379665" y="5253691"/>
            <a:ext cx="6105368" cy="1019991"/>
          </a:xfrm>
        </p:spPr>
        <p:txBody>
          <a:bodyPr anchor="b">
            <a:normAutofit/>
          </a:bodyPr>
          <a:lstStyle>
            <a:lvl1pPr marL="0" indent="0" algn="l">
              <a:buFontTx/>
              <a:buNone/>
              <a:defRPr sz="1400">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b-NO" dirty="0"/>
              <a:t>Klikk for å redigere tekststiler i malen</a:t>
            </a:r>
          </a:p>
        </p:txBody>
      </p:sp>
    </p:spTree>
    <p:extLst>
      <p:ext uri="{BB962C8B-B14F-4D97-AF65-F5344CB8AC3E}">
        <p14:creationId xmlns:p14="http://schemas.microsoft.com/office/powerpoint/2010/main" val="1720700406"/>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Final editable im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933140"/>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1610" y="0"/>
            <a:ext cx="11174668" cy="1209600"/>
          </a:xfrm>
          <a:prstGeom prst="rect">
            <a:avLst/>
          </a:prstGeom>
        </p:spPr>
        <p:txBody>
          <a:bodyPr/>
          <a:lstStyle/>
          <a:p>
            <a:r>
              <a:rPr lang="en-US" noProof="0"/>
              <a:t>Click to edit Master title style</a:t>
            </a:r>
            <a:endParaRPr lang="en-GB" noProof="0"/>
          </a:p>
        </p:txBody>
      </p:sp>
      <p:sp>
        <p:nvSpPr>
          <p:cNvPr id="3" name="Content Placeholder 2"/>
          <p:cNvSpPr>
            <a:spLocks noGrp="1"/>
          </p:cNvSpPr>
          <p:nvPr>
            <p:ph idx="1"/>
          </p:nvPr>
        </p:nvSpPr>
        <p:spPr>
          <a:xfrm>
            <a:off x="441600" y="1390267"/>
            <a:ext cx="11174667" cy="4615248"/>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p:txBody>
      </p:sp>
      <p:sp>
        <p:nvSpPr>
          <p:cNvPr id="5" name="Footer Placeholder 4"/>
          <p:cNvSpPr>
            <a:spLocks noGrp="1"/>
          </p:cNvSpPr>
          <p:nvPr>
            <p:ph type="ftr" sz="quarter" idx="11"/>
          </p:nvPr>
        </p:nvSpPr>
        <p:spPr>
          <a:xfrm>
            <a:off x="823395" y="6319485"/>
            <a:ext cx="5272615" cy="365125"/>
          </a:xfrm>
          <a:prstGeom prst="rect">
            <a:avLst/>
          </a:prstGeom>
        </p:spPr>
        <p:txBody>
          <a:bodyPr/>
          <a:lstStyle/>
          <a:p>
            <a:r>
              <a:rPr lang="en-GB" noProof="0"/>
              <a:t>Norwegian Business School August 10 - 2017</a:t>
            </a:r>
          </a:p>
        </p:txBody>
      </p:sp>
      <p:sp>
        <p:nvSpPr>
          <p:cNvPr id="6" name="Slide Number Placeholder 5"/>
          <p:cNvSpPr>
            <a:spLocks noGrp="1"/>
          </p:cNvSpPr>
          <p:nvPr>
            <p:ph type="sldNum" sz="quarter" idx="12"/>
          </p:nvPr>
        </p:nvSpPr>
        <p:spPr>
          <a:xfrm>
            <a:off x="441611" y="6319485"/>
            <a:ext cx="521127" cy="365125"/>
          </a:xfrm>
          <a:prstGeom prst="rect">
            <a:avLst/>
          </a:prstGeom>
        </p:spPr>
        <p:txBody>
          <a:bodyPr/>
          <a:lstStyle/>
          <a:p>
            <a:fld id="{5B2ACB19-C0E1-7345-B8BA-15A723BE30E5}" type="slidenum">
              <a:rPr lang="en-GB" noProof="0" smtClean="0"/>
              <a:pPr/>
              <a:t>‹#›</a:t>
            </a:fld>
            <a:endParaRPr lang="en-GB" noProof="0"/>
          </a:p>
        </p:txBody>
      </p:sp>
    </p:spTree>
    <p:extLst>
      <p:ext uri="{BB962C8B-B14F-4D97-AF65-F5344CB8AC3E}">
        <p14:creationId xmlns:p14="http://schemas.microsoft.com/office/powerpoint/2010/main" val="2914763968"/>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image editable">
    <p:bg>
      <p:bgPr>
        <a:solidFill>
          <a:srgbClr val="DCF1F6"/>
        </a:solidFill>
        <a:effectLst/>
      </p:bgPr>
    </p:bg>
    <p:spTree>
      <p:nvGrpSpPr>
        <p:cNvPr id="1" name=""/>
        <p:cNvGrpSpPr/>
        <p:nvPr/>
      </p:nvGrpSpPr>
      <p:grpSpPr>
        <a:xfrm>
          <a:off x="0" y="0"/>
          <a:ext cx="0" cy="0"/>
          <a:chOff x="0" y="0"/>
          <a:chExt cx="0" cy="0"/>
        </a:xfrm>
      </p:grpSpPr>
      <p:sp>
        <p:nvSpPr>
          <p:cNvPr id="6" name="Rektangel 5"/>
          <p:cNvSpPr/>
          <p:nvPr userDrawn="1"/>
        </p:nvSpPr>
        <p:spPr>
          <a:xfrm>
            <a:off x="0" y="0"/>
            <a:ext cx="12192000" cy="158273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sv-SE"/>
          </a:p>
        </p:txBody>
      </p:sp>
      <p:pic>
        <p:nvPicPr>
          <p:cNvPr id="7" name="Bilde 7" descr="/Volumes/Neo Files/Smart Energy Innovation/Utforming/SEN_Logo_Pos.png"/>
          <p:cNvPicPr>
            <a:picLocks noChangeAspect="1"/>
          </p:cNvPicPr>
          <p:nvPr userDrawn="1"/>
        </p:nvPicPr>
        <p:blipFill>
          <a:blip r:embed="rId2" r:link="rId3">
            <a:extLst>
              <a:ext uri="{28A0092B-C50C-407E-A947-70E740481C1C}">
                <a14:useLocalDpi xmlns:a14="http://schemas.microsoft.com/office/drawing/2010/main" val="0"/>
              </a:ext>
            </a:extLst>
          </a:blip>
          <a:srcRect/>
          <a:stretch>
            <a:fillRect/>
          </a:stretch>
        </p:blipFill>
        <p:spPr bwMode="auto">
          <a:xfrm>
            <a:off x="333375" y="273050"/>
            <a:ext cx="2679700" cy="12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lassholder for bilde 4"/>
          <p:cNvSpPr>
            <a:spLocks noGrp="1"/>
          </p:cNvSpPr>
          <p:nvPr>
            <p:ph type="pic" sz="quarter" idx="10"/>
          </p:nvPr>
        </p:nvSpPr>
        <p:spPr>
          <a:xfrm>
            <a:off x="0" y="3327400"/>
            <a:ext cx="12192000" cy="3530600"/>
          </a:xfrm>
        </p:spPr>
        <p:txBody>
          <a:bodyPr rtlCol="0">
            <a:normAutofit/>
          </a:bodyPr>
          <a:lstStyle/>
          <a:p>
            <a:pPr lvl="0"/>
            <a:r>
              <a:rPr lang="nb-NO" noProof="0"/>
              <a:t>Klikk ikonet for å legge til et bilde</a:t>
            </a:r>
          </a:p>
        </p:txBody>
      </p:sp>
      <p:sp>
        <p:nvSpPr>
          <p:cNvPr id="2" name="Tittel 1"/>
          <p:cNvSpPr>
            <a:spLocks noGrp="1"/>
          </p:cNvSpPr>
          <p:nvPr>
            <p:ph type="ctrTitle"/>
          </p:nvPr>
        </p:nvSpPr>
        <p:spPr>
          <a:xfrm>
            <a:off x="1378485" y="1930400"/>
            <a:ext cx="9541933" cy="524932"/>
          </a:xfrm>
        </p:spPr>
        <p:txBody>
          <a:bodyPr/>
          <a:lstStyle>
            <a:lvl1pPr algn="l">
              <a:defRPr sz="2800"/>
            </a:lvl1pPr>
          </a:lstStyle>
          <a:p>
            <a:r>
              <a:rPr lang="nb-NO" noProof="0" dirty="0"/>
              <a:t>Klikk for å redigere tittelstil</a:t>
            </a:r>
          </a:p>
        </p:txBody>
      </p:sp>
      <p:sp>
        <p:nvSpPr>
          <p:cNvPr id="3" name="Undertittel 2"/>
          <p:cNvSpPr>
            <a:spLocks noGrp="1"/>
          </p:cNvSpPr>
          <p:nvPr>
            <p:ph type="subTitle" idx="1"/>
          </p:nvPr>
        </p:nvSpPr>
        <p:spPr>
          <a:xfrm>
            <a:off x="1378485" y="2463800"/>
            <a:ext cx="9541933" cy="668868"/>
          </a:xfrm>
        </p:spPr>
        <p:txBody>
          <a:bodyPr>
            <a:normAutofit/>
          </a:bodyPr>
          <a:lstStyle>
            <a:lvl1pPr marL="0" indent="0" algn="l">
              <a:lnSpc>
                <a:spcPct val="90000"/>
              </a:lnSpc>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dirty="0"/>
              <a:t>Klikk for å redigere undertittelstil i malen</a:t>
            </a:r>
          </a:p>
        </p:txBody>
      </p:sp>
    </p:spTree>
    <p:extLst>
      <p:ext uri="{BB962C8B-B14F-4D97-AF65-F5344CB8AC3E}">
        <p14:creationId xmlns:p14="http://schemas.microsoft.com/office/powerpoint/2010/main" val="282707884"/>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2" name="Bilde 6" descr="/Volumes/Neo Files/Smart Energy Innovation/Utforming/Pics/shutterstock_175501994_5Mb.jpg"/>
          <p:cNvSpPr>
            <a:spLocks noChangeAspect="1"/>
          </p:cNvSpPr>
          <p:nvPr userDrawn="1"/>
        </p:nvSpPr>
        <p:spPr bwMode="auto">
          <a:xfrm>
            <a:off x="-96838" y="-125413"/>
            <a:ext cx="12355513" cy="823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charset="0"/>
                <a:ea typeface="ＭＳ Ｐゴシック" charset="-128"/>
              </a:defRPr>
            </a:lvl1pPr>
            <a:lvl2pPr marL="742950" indent="-285750">
              <a:defRPr>
                <a:solidFill>
                  <a:schemeClr val="tx1"/>
                </a:solidFill>
                <a:latin typeface="Calibri" charset="0"/>
                <a:ea typeface="ＭＳ Ｐゴシック" charset="-128"/>
              </a:defRPr>
            </a:lvl2pPr>
            <a:lvl3pPr marL="1143000" indent="-228600">
              <a:defRPr>
                <a:solidFill>
                  <a:schemeClr val="tx1"/>
                </a:solidFill>
                <a:latin typeface="Calibri" charset="0"/>
                <a:ea typeface="ＭＳ Ｐゴシック" charset="-128"/>
              </a:defRPr>
            </a:lvl3pPr>
            <a:lvl4pPr marL="1600200" indent="-228600">
              <a:defRPr>
                <a:solidFill>
                  <a:schemeClr val="tx1"/>
                </a:solidFill>
                <a:latin typeface="Calibri" charset="0"/>
                <a:ea typeface="ＭＳ Ｐゴシック" charset="-128"/>
              </a:defRPr>
            </a:lvl4pPr>
            <a:lvl5pPr marL="2057400" indent="-228600">
              <a:defRPr>
                <a:solidFill>
                  <a:schemeClr val="tx1"/>
                </a:solidFill>
                <a:latin typeface="Calibri" charset="0"/>
                <a:ea typeface="ＭＳ Ｐゴシック" charset="-128"/>
              </a:defRPr>
            </a:lvl5pPr>
            <a:lvl6pPr marL="2514600" indent="-228600" eaLnBrk="0" fontAlgn="base" hangingPunct="0">
              <a:spcBef>
                <a:spcPct val="0"/>
              </a:spcBef>
              <a:spcAft>
                <a:spcPct val="0"/>
              </a:spcAft>
              <a:defRPr>
                <a:solidFill>
                  <a:schemeClr val="tx1"/>
                </a:solidFill>
                <a:latin typeface="Calibri" charset="0"/>
                <a:ea typeface="ＭＳ Ｐゴシック" charset="-128"/>
              </a:defRPr>
            </a:lvl6pPr>
            <a:lvl7pPr marL="2971800" indent="-228600" eaLnBrk="0" fontAlgn="base" hangingPunct="0">
              <a:spcBef>
                <a:spcPct val="0"/>
              </a:spcBef>
              <a:spcAft>
                <a:spcPct val="0"/>
              </a:spcAft>
              <a:defRPr>
                <a:solidFill>
                  <a:schemeClr val="tx1"/>
                </a:solidFill>
                <a:latin typeface="Calibri" charset="0"/>
                <a:ea typeface="ＭＳ Ｐゴシック" charset="-128"/>
              </a:defRPr>
            </a:lvl7pPr>
            <a:lvl8pPr marL="3429000" indent="-228600" eaLnBrk="0" fontAlgn="base" hangingPunct="0">
              <a:spcBef>
                <a:spcPct val="0"/>
              </a:spcBef>
              <a:spcAft>
                <a:spcPct val="0"/>
              </a:spcAft>
              <a:defRPr>
                <a:solidFill>
                  <a:schemeClr val="tx1"/>
                </a:solidFill>
                <a:latin typeface="Calibri" charset="0"/>
                <a:ea typeface="ＭＳ Ｐゴシック" charset="-128"/>
              </a:defRPr>
            </a:lvl8pPr>
            <a:lvl9pPr marL="3886200" indent="-228600" eaLnBrk="0" fontAlgn="base" hangingPunct="0">
              <a:spcBef>
                <a:spcPct val="0"/>
              </a:spcBef>
              <a:spcAft>
                <a:spcPct val="0"/>
              </a:spcAft>
              <a:defRPr>
                <a:solidFill>
                  <a:schemeClr val="tx1"/>
                </a:solidFill>
                <a:latin typeface="Calibri" charset="0"/>
                <a:ea typeface="ＭＳ Ｐゴシック" charset="-128"/>
              </a:defRPr>
            </a:lvl9pPr>
          </a:lstStyle>
          <a:p>
            <a:pPr>
              <a:defRPr/>
            </a:pPr>
            <a:endParaRPr lang="nb-NO" altLang="nb-NO"/>
          </a:p>
        </p:txBody>
      </p:sp>
    </p:spTree>
    <p:extLst>
      <p:ext uri="{BB962C8B-B14F-4D97-AF65-F5344CB8AC3E}">
        <p14:creationId xmlns:p14="http://schemas.microsoft.com/office/powerpoint/2010/main" val="1237579224"/>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mage editable">
    <p:bg>
      <p:bgPr>
        <a:solidFill>
          <a:srgbClr val="DCF1F6"/>
        </a:solidFill>
        <a:effectLst/>
      </p:bgPr>
    </p:bg>
    <p:spTree>
      <p:nvGrpSpPr>
        <p:cNvPr id="1" name=""/>
        <p:cNvGrpSpPr/>
        <p:nvPr/>
      </p:nvGrpSpPr>
      <p:grpSpPr>
        <a:xfrm>
          <a:off x="0" y="0"/>
          <a:ext cx="0" cy="0"/>
          <a:chOff x="0" y="0"/>
          <a:chExt cx="0" cy="0"/>
        </a:xfrm>
      </p:grpSpPr>
      <p:sp>
        <p:nvSpPr>
          <p:cNvPr id="4" name="Rektangel 3"/>
          <p:cNvSpPr/>
          <p:nvPr userDrawn="1"/>
        </p:nvSpPr>
        <p:spPr>
          <a:xfrm>
            <a:off x="0" y="0"/>
            <a:ext cx="12192000" cy="158273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sv-SE"/>
          </a:p>
        </p:txBody>
      </p:sp>
      <p:pic>
        <p:nvPicPr>
          <p:cNvPr id="5" name="Bilde 7" descr="/Volumes/Neo Files/Smart Energy Innovation/Utforming/SEN_Logo_Pos.png"/>
          <p:cNvPicPr>
            <a:picLocks noChangeAspect="1"/>
          </p:cNvPicPr>
          <p:nvPr userDrawn="1"/>
        </p:nvPicPr>
        <p:blipFill>
          <a:blip r:embed="rId2" r:link="rId3">
            <a:extLst>
              <a:ext uri="{28A0092B-C50C-407E-A947-70E740481C1C}">
                <a14:useLocalDpi xmlns:a14="http://schemas.microsoft.com/office/drawing/2010/main" val="0"/>
              </a:ext>
            </a:extLst>
          </a:blip>
          <a:srcRect/>
          <a:stretch>
            <a:fillRect/>
          </a:stretch>
        </p:blipFill>
        <p:spPr bwMode="auto">
          <a:xfrm>
            <a:off x="333375" y="273050"/>
            <a:ext cx="2679700" cy="12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lassholder for bilde 2"/>
          <p:cNvSpPr>
            <a:spLocks noGrp="1"/>
          </p:cNvSpPr>
          <p:nvPr>
            <p:ph type="pic" sz="quarter" idx="10"/>
          </p:nvPr>
        </p:nvSpPr>
        <p:spPr>
          <a:xfrm>
            <a:off x="0" y="1582738"/>
            <a:ext cx="12192000" cy="5275262"/>
          </a:xfrm>
        </p:spPr>
        <p:txBody>
          <a:bodyPr rtlCol="0">
            <a:normAutofit/>
          </a:bodyPr>
          <a:lstStyle/>
          <a:p>
            <a:pPr lvl="0"/>
            <a:r>
              <a:rPr lang="nb-NO" noProof="0"/>
              <a:t>Klikk ikonet for å legge til et bilde</a:t>
            </a:r>
          </a:p>
        </p:txBody>
      </p:sp>
    </p:spTree>
    <p:extLst>
      <p:ext uri="{BB962C8B-B14F-4D97-AF65-F5344CB8AC3E}">
        <p14:creationId xmlns:p14="http://schemas.microsoft.com/office/powerpoint/2010/main" val="1614896573"/>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with bullet points">
    <p:spTree>
      <p:nvGrpSpPr>
        <p:cNvPr id="1" name=""/>
        <p:cNvGrpSpPr/>
        <p:nvPr/>
      </p:nvGrpSpPr>
      <p:grpSpPr>
        <a:xfrm>
          <a:off x="0" y="0"/>
          <a:ext cx="0" cy="0"/>
          <a:chOff x="0" y="0"/>
          <a:chExt cx="0" cy="0"/>
        </a:xfrm>
      </p:grpSpPr>
      <p:sp>
        <p:nvSpPr>
          <p:cNvPr id="4" name="Rektangel 3"/>
          <p:cNvSpPr/>
          <p:nvPr userDrawn="1"/>
        </p:nvSpPr>
        <p:spPr>
          <a:xfrm>
            <a:off x="0" y="0"/>
            <a:ext cx="12192000" cy="1582738"/>
          </a:xfrm>
          <a:prstGeom prst="rect">
            <a:avLst/>
          </a:prstGeom>
          <a:solidFill>
            <a:schemeClr val="tx1">
              <a:lumMod val="85000"/>
              <a:lumOff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sv-SE"/>
          </a:p>
        </p:txBody>
      </p:sp>
      <p:pic>
        <p:nvPicPr>
          <p:cNvPr id="5" name="Bilde 7" descr="/Volumes/Neo Files/Smart Energy Innovation/Utforming/SEN_Logo_Neg.png"/>
          <p:cNvPicPr>
            <a:picLocks noChangeAspect="1"/>
          </p:cNvPicPr>
          <p:nvPr userDrawn="1"/>
        </p:nvPicPr>
        <p:blipFill>
          <a:blip r:embed="rId2" r:link="rId3">
            <a:extLst>
              <a:ext uri="{28A0092B-C50C-407E-A947-70E740481C1C}">
                <a14:useLocalDpi xmlns:a14="http://schemas.microsoft.com/office/drawing/2010/main" val="0"/>
              </a:ext>
            </a:extLst>
          </a:blip>
          <a:srcRect/>
          <a:stretch>
            <a:fillRect/>
          </a:stretch>
        </p:blipFill>
        <p:spPr bwMode="auto">
          <a:xfrm>
            <a:off x="493713" y="282575"/>
            <a:ext cx="2535237"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838200" y="1981463"/>
            <a:ext cx="10515600" cy="888737"/>
          </a:xfrm>
        </p:spPr>
        <p:txBody>
          <a:bodyPr/>
          <a:lstStyle>
            <a:lvl1pPr>
              <a:defRPr sz="2800"/>
            </a:lvl1pPr>
          </a:lstStyle>
          <a:p>
            <a:r>
              <a:rPr lang="nb-NO"/>
              <a:t>Klikk for å redigere tittelstil</a:t>
            </a:r>
            <a:endParaRPr lang="sv-SE" dirty="0"/>
          </a:p>
        </p:txBody>
      </p:sp>
      <p:sp>
        <p:nvSpPr>
          <p:cNvPr id="3" name="Plassholder for innhold 2"/>
          <p:cNvSpPr>
            <a:spLocks noGrp="1"/>
          </p:cNvSpPr>
          <p:nvPr>
            <p:ph idx="1"/>
          </p:nvPr>
        </p:nvSpPr>
        <p:spPr>
          <a:xfrm>
            <a:off x="838200" y="3005667"/>
            <a:ext cx="10515600" cy="317129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sv-SE" dirty="0"/>
          </a:p>
        </p:txBody>
      </p:sp>
    </p:spTree>
    <p:extLst>
      <p:ext uri="{BB962C8B-B14F-4D97-AF65-F5344CB8AC3E}">
        <p14:creationId xmlns:p14="http://schemas.microsoft.com/office/powerpoint/2010/main" val="1668371625"/>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4" name="Rektangel 3"/>
          <p:cNvSpPr/>
          <p:nvPr userDrawn="1"/>
        </p:nvSpPr>
        <p:spPr>
          <a:xfrm>
            <a:off x="0" y="0"/>
            <a:ext cx="12192000" cy="1582738"/>
          </a:xfrm>
          <a:prstGeom prst="rect">
            <a:avLst/>
          </a:prstGeom>
          <a:solidFill>
            <a:schemeClr val="tx1">
              <a:lumMod val="85000"/>
              <a:lumOff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sv-SE"/>
          </a:p>
        </p:txBody>
      </p:sp>
      <p:pic>
        <p:nvPicPr>
          <p:cNvPr id="5" name="Bilde 7" descr="/Volumes/Neo Files/Smart Energy Innovation/Utforming/SEN_Logo_Neg.png"/>
          <p:cNvPicPr>
            <a:picLocks noChangeAspect="1"/>
          </p:cNvPicPr>
          <p:nvPr userDrawn="1"/>
        </p:nvPicPr>
        <p:blipFill>
          <a:blip r:embed="rId2" r:link="rId3">
            <a:extLst>
              <a:ext uri="{28A0092B-C50C-407E-A947-70E740481C1C}">
                <a14:useLocalDpi xmlns:a14="http://schemas.microsoft.com/office/drawing/2010/main" val="0"/>
              </a:ext>
            </a:extLst>
          </a:blip>
          <a:srcRect/>
          <a:stretch>
            <a:fillRect/>
          </a:stretch>
        </p:blipFill>
        <p:spPr bwMode="auto">
          <a:xfrm>
            <a:off x="493713" y="282575"/>
            <a:ext cx="2535237"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838200" y="1981463"/>
            <a:ext cx="10515600" cy="888737"/>
          </a:xfrm>
        </p:spPr>
        <p:txBody>
          <a:bodyPr/>
          <a:lstStyle>
            <a:lvl1pPr>
              <a:defRPr sz="2800"/>
            </a:lvl1pPr>
          </a:lstStyle>
          <a:p>
            <a:r>
              <a:rPr lang="nb-NO"/>
              <a:t>Klikk for å redigere tittelstil</a:t>
            </a:r>
            <a:endParaRPr lang="sv-SE" dirty="0"/>
          </a:p>
        </p:txBody>
      </p:sp>
      <p:sp>
        <p:nvSpPr>
          <p:cNvPr id="3" name="Plassholder for innhold 2"/>
          <p:cNvSpPr>
            <a:spLocks noGrp="1"/>
          </p:cNvSpPr>
          <p:nvPr>
            <p:ph idx="1"/>
          </p:nvPr>
        </p:nvSpPr>
        <p:spPr>
          <a:xfrm>
            <a:off x="838200" y="3005667"/>
            <a:ext cx="10515600" cy="3171295"/>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b-NO"/>
              <a:t>Klikk for å redigere tekststiler i malen</a:t>
            </a:r>
          </a:p>
        </p:txBody>
      </p:sp>
    </p:spTree>
    <p:extLst>
      <p:ext uri="{BB962C8B-B14F-4D97-AF65-F5344CB8AC3E}">
        <p14:creationId xmlns:p14="http://schemas.microsoft.com/office/powerpoint/2010/main" val="627922496"/>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with editable image right">
    <p:spTree>
      <p:nvGrpSpPr>
        <p:cNvPr id="1" name=""/>
        <p:cNvGrpSpPr/>
        <p:nvPr/>
      </p:nvGrpSpPr>
      <p:grpSpPr>
        <a:xfrm>
          <a:off x="0" y="0"/>
          <a:ext cx="0" cy="0"/>
          <a:chOff x="0" y="0"/>
          <a:chExt cx="0" cy="0"/>
        </a:xfrm>
      </p:grpSpPr>
      <p:sp>
        <p:nvSpPr>
          <p:cNvPr id="5" name="Rektangel 4"/>
          <p:cNvSpPr/>
          <p:nvPr userDrawn="1"/>
        </p:nvSpPr>
        <p:spPr>
          <a:xfrm>
            <a:off x="0" y="0"/>
            <a:ext cx="12192000" cy="1582738"/>
          </a:xfrm>
          <a:prstGeom prst="rect">
            <a:avLst/>
          </a:prstGeom>
          <a:solidFill>
            <a:schemeClr val="tx1">
              <a:lumMod val="85000"/>
              <a:lumOff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sv-SE"/>
          </a:p>
        </p:txBody>
      </p:sp>
      <p:pic>
        <p:nvPicPr>
          <p:cNvPr id="6" name="Bilde 7" descr="/Volumes/Neo Files/Smart Energy Innovation/Utforming/SEN_Logo_Neg.png"/>
          <p:cNvPicPr>
            <a:picLocks noChangeAspect="1"/>
          </p:cNvPicPr>
          <p:nvPr userDrawn="1"/>
        </p:nvPicPr>
        <p:blipFill>
          <a:blip r:embed="rId2" r:link="rId3">
            <a:extLst>
              <a:ext uri="{28A0092B-C50C-407E-A947-70E740481C1C}">
                <a14:useLocalDpi xmlns:a14="http://schemas.microsoft.com/office/drawing/2010/main" val="0"/>
              </a:ext>
            </a:extLst>
          </a:blip>
          <a:srcRect/>
          <a:stretch>
            <a:fillRect/>
          </a:stretch>
        </p:blipFill>
        <p:spPr bwMode="auto">
          <a:xfrm>
            <a:off x="493713" y="282575"/>
            <a:ext cx="2535237"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title"/>
          </p:nvPr>
        </p:nvSpPr>
        <p:spPr>
          <a:xfrm>
            <a:off x="838200" y="1981463"/>
            <a:ext cx="4631267" cy="888737"/>
          </a:xfrm>
        </p:spPr>
        <p:txBody>
          <a:bodyPr/>
          <a:lstStyle>
            <a:lvl1pPr>
              <a:defRPr sz="2800"/>
            </a:lvl1pPr>
          </a:lstStyle>
          <a:p>
            <a:r>
              <a:rPr lang="nb-NO"/>
              <a:t>Klikk for å redigere tittelstil</a:t>
            </a:r>
            <a:endParaRPr lang="sv-SE" dirty="0"/>
          </a:p>
        </p:txBody>
      </p:sp>
      <p:sp>
        <p:nvSpPr>
          <p:cNvPr id="3" name="Plassholder for innhold 2"/>
          <p:cNvSpPr>
            <a:spLocks noGrp="1"/>
          </p:cNvSpPr>
          <p:nvPr>
            <p:ph idx="1"/>
          </p:nvPr>
        </p:nvSpPr>
        <p:spPr>
          <a:xfrm>
            <a:off x="838200" y="3005667"/>
            <a:ext cx="4631267" cy="317129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sv-SE" dirty="0"/>
          </a:p>
        </p:txBody>
      </p:sp>
      <p:sp>
        <p:nvSpPr>
          <p:cNvPr id="10" name="Plassholder for bilde 9"/>
          <p:cNvSpPr>
            <a:spLocks noGrp="1"/>
          </p:cNvSpPr>
          <p:nvPr>
            <p:ph type="pic" sz="quarter" idx="13"/>
          </p:nvPr>
        </p:nvSpPr>
        <p:spPr>
          <a:xfrm>
            <a:off x="6096000" y="1582738"/>
            <a:ext cx="6096000" cy="5275262"/>
          </a:xfrm>
        </p:spPr>
        <p:txBody>
          <a:bodyPr rtlCol="0">
            <a:normAutofit/>
          </a:bodyPr>
          <a:lstStyle/>
          <a:p>
            <a:pPr lvl="0"/>
            <a:r>
              <a:rPr lang="nb-NO" noProof="0"/>
              <a:t>Klikk ikonet for å legge til et bilde</a:t>
            </a:r>
          </a:p>
        </p:txBody>
      </p:sp>
    </p:spTree>
    <p:extLst>
      <p:ext uri="{BB962C8B-B14F-4D97-AF65-F5344CB8AC3E}">
        <p14:creationId xmlns:p14="http://schemas.microsoft.com/office/powerpoint/2010/main" val="758748914"/>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width editable image background">
    <p:spTree>
      <p:nvGrpSpPr>
        <p:cNvPr id="1" name=""/>
        <p:cNvGrpSpPr/>
        <p:nvPr/>
      </p:nvGrpSpPr>
      <p:grpSpPr>
        <a:xfrm>
          <a:off x="0" y="0"/>
          <a:ext cx="0" cy="0"/>
          <a:chOff x="0" y="0"/>
          <a:chExt cx="0" cy="0"/>
        </a:xfrm>
      </p:grpSpPr>
      <p:sp>
        <p:nvSpPr>
          <p:cNvPr id="5" name="Rektangel 4"/>
          <p:cNvSpPr/>
          <p:nvPr userDrawn="1"/>
        </p:nvSpPr>
        <p:spPr>
          <a:xfrm>
            <a:off x="0" y="0"/>
            <a:ext cx="12192000" cy="1582738"/>
          </a:xfrm>
          <a:prstGeom prst="rect">
            <a:avLst/>
          </a:prstGeom>
          <a:solidFill>
            <a:schemeClr val="tx1">
              <a:lumMod val="85000"/>
              <a:lumOff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sv-SE"/>
          </a:p>
        </p:txBody>
      </p:sp>
      <p:pic>
        <p:nvPicPr>
          <p:cNvPr id="6" name="Bilde 7" descr="/Volumes/Neo Files/Smart Energy Innovation/Utforming/SEN_Logo_Neg.png"/>
          <p:cNvPicPr>
            <a:picLocks noChangeAspect="1"/>
          </p:cNvPicPr>
          <p:nvPr userDrawn="1"/>
        </p:nvPicPr>
        <p:blipFill>
          <a:blip r:embed="rId2" r:link="rId3">
            <a:extLst>
              <a:ext uri="{28A0092B-C50C-407E-A947-70E740481C1C}">
                <a14:useLocalDpi xmlns:a14="http://schemas.microsoft.com/office/drawing/2010/main" val="0"/>
              </a:ext>
            </a:extLst>
          </a:blip>
          <a:srcRect/>
          <a:stretch>
            <a:fillRect/>
          </a:stretch>
        </p:blipFill>
        <p:spPr bwMode="auto">
          <a:xfrm>
            <a:off x="493713" y="282575"/>
            <a:ext cx="2535237"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Plassholder for bilde 9"/>
          <p:cNvSpPr>
            <a:spLocks noGrp="1"/>
          </p:cNvSpPr>
          <p:nvPr>
            <p:ph type="pic" sz="quarter" idx="13"/>
          </p:nvPr>
        </p:nvSpPr>
        <p:spPr>
          <a:xfrm>
            <a:off x="0" y="1582738"/>
            <a:ext cx="12192000" cy="5275262"/>
          </a:xfrm>
        </p:spPr>
        <p:txBody>
          <a:bodyPr rtlCol="0">
            <a:normAutofit/>
          </a:bodyPr>
          <a:lstStyle/>
          <a:p>
            <a:pPr lvl="0"/>
            <a:r>
              <a:rPr lang="nb-NO" noProof="0"/>
              <a:t>Klikk ikonet for å legge til et bilde</a:t>
            </a:r>
          </a:p>
        </p:txBody>
      </p:sp>
      <p:sp>
        <p:nvSpPr>
          <p:cNvPr id="2" name="Tittel 1"/>
          <p:cNvSpPr>
            <a:spLocks noGrp="1"/>
          </p:cNvSpPr>
          <p:nvPr>
            <p:ph type="title"/>
          </p:nvPr>
        </p:nvSpPr>
        <p:spPr>
          <a:xfrm>
            <a:off x="613834" y="1582737"/>
            <a:ext cx="5080000" cy="1287463"/>
          </a:xfrm>
          <a:solidFill>
            <a:srgbClr val="FFFFFF">
              <a:alpha val="80000"/>
            </a:srgbClr>
          </a:solidFill>
        </p:spPr>
        <p:txBody>
          <a:bodyPr lIns="320040" rIns="320040"/>
          <a:lstStyle>
            <a:lvl1pPr>
              <a:defRPr sz="2800"/>
            </a:lvl1pPr>
          </a:lstStyle>
          <a:p>
            <a:r>
              <a:rPr lang="nb-NO"/>
              <a:t>Klikk for å redigere tittelstil</a:t>
            </a:r>
            <a:endParaRPr lang="sv-SE" dirty="0"/>
          </a:p>
        </p:txBody>
      </p:sp>
      <p:sp>
        <p:nvSpPr>
          <p:cNvPr id="3" name="Plassholder for innhold 2"/>
          <p:cNvSpPr>
            <a:spLocks noGrp="1"/>
          </p:cNvSpPr>
          <p:nvPr>
            <p:ph idx="1"/>
          </p:nvPr>
        </p:nvSpPr>
        <p:spPr>
          <a:xfrm>
            <a:off x="613834" y="2870201"/>
            <a:ext cx="5080000" cy="3987800"/>
          </a:xfrm>
          <a:solidFill>
            <a:schemeClr val="bg1">
              <a:alpha val="80000"/>
            </a:schemeClr>
          </a:solidFill>
        </p:spPr>
        <p:txBody>
          <a:bodyPr lIns="320040" tIns="182880" rIns="32004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sv-SE" dirty="0"/>
          </a:p>
        </p:txBody>
      </p:sp>
    </p:spTree>
    <p:extLst>
      <p:ext uri="{BB962C8B-B14F-4D97-AF65-F5344CB8AC3E}">
        <p14:creationId xmlns:p14="http://schemas.microsoft.com/office/powerpoint/2010/main" val="535101712"/>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collage editable 1">
    <p:spTree>
      <p:nvGrpSpPr>
        <p:cNvPr id="1" name=""/>
        <p:cNvGrpSpPr/>
        <p:nvPr/>
      </p:nvGrpSpPr>
      <p:grpSpPr>
        <a:xfrm>
          <a:off x="0" y="0"/>
          <a:ext cx="0" cy="0"/>
          <a:chOff x="0" y="0"/>
          <a:chExt cx="0" cy="0"/>
        </a:xfrm>
      </p:grpSpPr>
      <p:sp>
        <p:nvSpPr>
          <p:cNvPr id="8" name="Rektangel 7"/>
          <p:cNvSpPr/>
          <p:nvPr userDrawn="1"/>
        </p:nvSpPr>
        <p:spPr>
          <a:xfrm>
            <a:off x="0" y="0"/>
            <a:ext cx="12192000" cy="1582738"/>
          </a:xfrm>
          <a:prstGeom prst="rect">
            <a:avLst/>
          </a:prstGeom>
          <a:solidFill>
            <a:schemeClr val="tx1">
              <a:lumMod val="85000"/>
              <a:lumOff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sv-SE"/>
          </a:p>
        </p:txBody>
      </p:sp>
      <p:pic>
        <p:nvPicPr>
          <p:cNvPr id="9" name="Bilde 7" descr="/Volumes/Neo Files/Smart Energy Innovation/Utforming/SEN_Logo_Neg.png"/>
          <p:cNvPicPr>
            <a:picLocks noChangeAspect="1"/>
          </p:cNvPicPr>
          <p:nvPr userDrawn="1"/>
        </p:nvPicPr>
        <p:blipFill>
          <a:blip r:embed="rId2" r:link="rId3">
            <a:extLst>
              <a:ext uri="{28A0092B-C50C-407E-A947-70E740481C1C}">
                <a14:useLocalDpi xmlns:a14="http://schemas.microsoft.com/office/drawing/2010/main" val="0"/>
              </a:ext>
            </a:extLst>
          </a:blip>
          <a:srcRect/>
          <a:stretch>
            <a:fillRect/>
          </a:stretch>
        </p:blipFill>
        <p:spPr bwMode="auto">
          <a:xfrm>
            <a:off x="493713" y="282575"/>
            <a:ext cx="2535237"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Plassholder for bilde 9"/>
          <p:cNvSpPr>
            <a:spLocks noGrp="1"/>
          </p:cNvSpPr>
          <p:nvPr>
            <p:ph type="pic" sz="quarter" idx="15"/>
          </p:nvPr>
        </p:nvSpPr>
        <p:spPr>
          <a:xfrm>
            <a:off x="-9427" y="4224338"/>
            <a:ext cx="4072379" cy="2633662"/>
          </a:xfrm>
        </p:spPr>
        <p:txBody>
          <a:bodyPr rtlCol="0">
            <a:normAutofit/>
          </a:bodyPr>
          <a:lstStyle/>
          <a:p>
            <a:pPr lvl="0"/>
            <a:r>
              <a:rPr lang="nb-NO" noProof="0"/>
              <a:t>Klikk ikonet for å legge til et bilde</a:t>
            </a:r>
          </a:p>
        </p:txBody>
      </p:sp>
      <p:sp>
        <p:nvSpPr>
          <p:cNvPr id="19" name="Plassholder for bilde 9"/>
          <p:cNvSpPr>
            <a:spLocks noGrp="1"/>
          </p:cNvSpPr>
          <p:nvPr>
            <p:ph type="pic" sz="quarter" idx="16"/>
          </p:nvPr>
        </p:nvSpPr>
        <p:spPr>
          <a:xfrm>
            <a:off x="4061638" y="1582737"/>
            <a:ext cx="4059936" cy="2649897"/>
          </a:xfrm>
        </p:spPr>
        <p:txBody>
          <a:bodyPr rtlCol="0">
            <a:normAutofit/>
          </a:bodyPr>
          <a:lstStyle/>
          <a:p>
            <a:pPr lvl="0"/>
            <a:r>
              <a:rPr lang="nb-NO" noProof="0"/>
              <a:t>Klikk ikonet for å legge til et bilde</a:t>
            </a:r>
          </a:p>
        </p:txBody>
      </p:sp>
      <p:sp>
        <p:nvSpPr>
          <p:cNvPr id="20" name="Plassholder for bilde 9"/>
          <p:cNvSpPr>
            <a:spLocks noGrp="1"/>
          </p:cNvSpPr>
          <p:nvPr>
            <p:ph type="pic" sz="quarter" idx="17"/>
          </p:nvPr>
        </p:nvSpPr>
        <p:spPr>
          <a:xfrm>
            <a:off x="4061639" y="4224338"/>
            <a:ext cx="4059936" cy="2633662"/>
          </a:xfrm>
        </p:spPr>
        <p:txBody>
          <a:bodyPr rtlCol="0">
            <a:normAutofit/>
          </a:bodyPr>
          <a:lstStyle/>
          <a:p>
            <a:pPr lvl="0"/>
            <a:r>
              <a:rPr lang="nb-NO" noProof="0"/>
              <a:t>Klikk ikonet for å legge til et bilde</a:t>
            </a:r>
          </a:p>
        </p:txBody>
      </p:sp>
      <p:sp>
        <p:nvSpPr>
          <p:cNvPr id="21" name="Plassholder for bilde 9"/>
          <p:cNvSpPr>
            <a:spLocks noGrp="1"/>
          </p:cNvSpPr>
          <p:nvPr>
            <p:ph type="pic" sz="quarter" idx="18"/>
          </p:nvPr>
        </p:nvSpPr>
        <p:spPr>
          <a:xfrm>
            <a:off x="8125904" y="1582738"/>
            <a:ext cx="4066095" cy="5275262"/>
          </a:xfrm>
        </p:spPr>
        <p:txBody>
          <a:bodyPr rtlCol="0">
            <a:normAutofit/>
          </a:bodyPr>
          <a:lstStyle/>
          <a:p>
            <a:pPr lvl="0"/>
            <a:r>
              <a:rPr lang="nb-NO" noProof="0"/>
              <a:t>Klikk ikonet for å legge til et bilde</a:t>
            </a:r>
          </a:p>
        </p:txBody>
      </p:sp>
      <p:sp>
        <p:nvSpPr>
          <p:cNvPr id="2" name="Tittel 1"/>
          <p:cNvSpPr>
            <a:spLocks noGrp="1"/>
          </p:cNvSpPr>
          <p:nvPr>
            <p:ph type="title"/>
          </p:nvPr>
        </p:nvSpPr>
        <p:spPr>
          <a:xfrm>
            <a:off x="1123579" y="1966401"/>
            <a:ext cx="2725407" cy="881912"/>
          </a:xfrm>
        </p:spPr>
        <p:txBody>
          <a:bodyPr/>
          <a:lstStyle>
            <a:lvl1pPr>
              <a:defRPr sz="1600"/>
            </a:lvl1pPr>
          </a:lstStyle>
          <a:p>
            <a:r>
              <a:rPr lang="nb-NO"/>
              <a:t>Klikk for å redigere tittelstil</a:t>
            </a:r>
            <a:endParaRPr lang="sv-SE" dirty="0"/>
          </a:p>
        </p:txBody>
      </p:sp>
      <p:sp>
        <p:nvSpPr>
          <p:cNvPr id="3" name="Plassholder for innhold 2"/>
          <p:cNvSpPr>
            <a:spLocks noGrp="1"/>
          </p:cNvSpPr>
          <p:nvPr>
            <p:ph idx="1"/>
          </p:nvPr>
        </p:nvSpPr>
        <p:spPr>
          <a:xfrm>
            <a:off x="1123579" y="2862354"/>
            <a:ext cx="2725407" cy="970910"/>
          </a:xfrm>
        </p:spPr>
        <p:txBody>
          <a:bodyPr>
            <a:normAutofit/>
          </a:bodyPr>
          <a:lstStyle>
            <a:lvl1pPr marL="0" indent="0">
              <a:buFontTx/>
              <a:buNone/>
              <a:defRPr sz="14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b-NO"/>
              <a:t>Klikk for å redigere tekststiler i malen</a:t>
            </a:r>
          </a:p>
        </p:txBody>
      </p:sp>
    </p:spTree>
    <p:extLst>
      <p:ext uri="{BB962C8B-B14F-4D97-AF65-F5344CB8AC3E}">
        <p14:creationId xmlns:p14="http://schemas.microsoft.com/office/powerpoint/2010/main" val="1940443595"/>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838200" y="365125"/>
            <a:ext cx="10515600" cy="1325563"/>
          </a:xfrm>
          <a:prstGeom prst="rect">
            <a:avLst/>
          </a:prstGeom>
        </p:spPr>
        <p:txBody>
          <a:bodyPr vert="horz" wrap="square" lIns="91440" tIns="45720" rIns="91440" bIns="45720" numCol="1" anchor="b" anchorCtr="0" compatLnSpc="1">
            <a:prstTxWarp prst="textNoShape">
              <a:avLst/>
            </a:prstTxWarp>
            <a:noAutofit/>
          </a:bodyPr>
          <a:lstStyle/>
          <a:p>
            <a:pPr lvl="0"/>
            <a:r>
              <a:rPr lang="nb-NO" altLang="nb-NO"/>
              <a:t>Klikk for å redigere tittelstil</a:t>
            </a:r>
          </a:p>
        </p:txBody>
      </p:sp>
      <p:sp>
        <p:nvSpPr>
          <p:cNvPr id="1027" name="Plassholder for tekst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nb-NO" altLang="nb-NO"/>
              <a:t>Klikk for å redigere tekststiler i malen</a:t>
            </a:r>
          </a:p>
          <a:p>
            <a:pPr lvl="1"/>
            <a:r>
              <a:rPr lang="nb-NO" altLang="nb-NO"/>
              <a:t>Andre nivå</a:t>
            </a:r>
          </a:p>
          <a:p>
            <a:pPr lvl="2"/>
            <a:r>
              <a:rPr lang="nb-NO" altLang="nb-NO"/>
              <a:t>Tredje nivå</a:t>
            </a:r>
          </a:p>
          <a:p>
            <a:pPr lvl="3"/>
            <a:r>
              <a:rPr lang="nb-NO" altLang="nb-NO"/>
              <a:t>Fjerde nivå</a:t>
            </a:r>
          </a:p>
          <a:p>
            <a:pPr lvl="4"/>
            <a:r>
              <a:rPr lang="nb-NO" altLang="nb-NO"/>
              <a:t>Femte nivå</a:t>
            </a:r>
          </a:p>
        </p:txBody>
      </p:sp>
      <p:sp>
        <p:nvSpPr>
          <p:cNvPr id="4" name="Plassholder for dato 3"/>
          <p:cNvSpPr>
            <a:spLocks noGrp="1"/>
          </p:cNvSpPr>
          <p:nvPr>
            <p:ph type="dt" sz="half" idx="2"/>
          </p:nvPr>
        </p:nvSpPr>
        <p:spPr>
          <a:xfrm>
            <a:off x="838200" y="6356350"/>
            <a:ext cx="27432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000">
                <a:solidFill>
                  <a:srgbClr val="898989"/>
                </a:solidFill>
              </a:defRPr>
            </a:lvl1pPr>
          </a:lstStyle>
          <a:p>
            <a:pPr>
              <a:defRPr/>
            </a:pPr>
            <a:fld id="{A1C649B6-72C3-C546-93E9-AA5E531B503F}" type="datetimeFigureOut">
              <a:rPr lang="sv-SE" altLang="nb-NO"/>
              <a:pPr>
                <a:defRPr/>
              </a:pPr>
              <a:t>2023-02-27</a:t>
            </a:fld>
            <a:endParaRPr lang="sv-SE" altLang="nb-NO"/>
          </a:p>
        </p:txBody>
      </p:sp>
      <p:sp>
        <p:nvSpPr>
          <p:cNvPr id="5" name="Plassholder for bunn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000">
                <a:solidFill>
                  <a:schemeClr val="tx1">
                    <a:tint val="75000"/>
                  </a:schemeClr>
                </a:solidFill>
                <a:latin typeface="+mn-lt"/>
                <a:ea typeface="+mn-ea"/>
                <a:cs typeface="+mn-cs"/>
              </a:defRPr>
            </a:lvl1pPr>
          </a:lstStyle>
          <a:p>
            <a:pPr>
              <a:defRPr/>
            </a:pPr>
            <a:endParaRPr lang="sv-SE"/>
          </a:p>
        </p:txBody>
      </p:sp>
      <p:sp>
        <p:nvSpPr>
          <p:cNvPr id="6" name="Plassholder for lysbildenumm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898989"/>
                </a:solidFill>
              </a:defRPr>
            </a:lvl1pPr>
          </a:lstStyle>
          <a:p>
            <a:pPr>
              <a:defRPr/>
            </a:pPr>
            <a:fld id="{4C343D8E-D79F-E549-9849-3ADFC09E61AF}" type="slidenum">
              <a:rPr lang="sv-SE" altLang="nb-NO"/>
              <a:pPr>
                <a:defRPr/>
              </a:pPr>
              <a:t>‹#›</a:t>
            </a:fld>
            <a:endParaRPr lang="sv-SE" altLang="nb-NO"/>
          </a:p>
        </p:txBody>
      </p:sp>
    </p:spTree>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Lst>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txStyles>
    <p:titleStyle>
      <a:lvl1pPr algn="l" rtl="0" eaLnBrk="0" fontAlgn="base" hangingPunct="0">
        <a:lnSpc>
          <a:spcPct val="90000"/>
        </a:lnSpc>
        <a:spcBef>
          <a:spcPct val="0"/>
        </a:spcBef>
        <a:spcAft>
          <a:spcPct val="0"/>
        </a:spcAft>
        <a:defRPr sz="3600" b="1" kern="1200" cap="all">
          <a:solidFill>
            <a:schemeClr val="tx1"/>
          </a:solidFill>
          <a:latin typeface="Calibri"/>
          <a:ea typeface="ＭＳ Ｐゴシック" charset="0"/>
          <a:cs typeface="ＭＳ Ｐゴシック" charset="0"/>
        </a:defRPr>
      </a:lvl1pPr>
      <a:lvl2pPr algn="l" rtl="0" eaLnBrk="0" fontAlgn="base" hangingPunct="0">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2pPr>
      <a:lvl3pPr algn="l" rtl="0" eaLnBrk="0" fontAlgn="base" hangingPunct="0">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3pPr>
      <a:lvl4pPr algn="l" rtl="0" eaLnBrk="0" fontAlgn="base" hangingPunct="0">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4pPr>
      <a:lvl5pPr algn="l" rtl="0" eaLnBrk="0" fontAlgn="base" hangingPunct="0">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5pPr>
      <a:lvl6pPr marL="457200" algn="l" rtl="0" fontAlgn="base">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6pPr>
      <a:lvl7pPr marL="914400" algn="l" rtl="0" fontAlgn="base">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7pPr>
      <a:lvl8pPr marL="1371600" algn="l" rtl="0" fontAlgn="base">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8pPr>
      <a:lvl9pPr marL="1828800" algn="l" rtl="0" fontAlgn="base">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9pPr>
    </p:titleStyle>
    <p:bodyStyle>
      <a:lvl1pPr marL="228600" indent="-228600" algn="l" rtl="0" eaLnBrk="0" fontAlgn="base" hangingPunct="0">
        <a:lnSpc>
          <a:spcPct val="90000"/>
        </a:lnSpc>
        <a:spcBef>
          <a:spcPts val="1000"/>
        </a:spcBef>
        <a:spcAft>
          <a:spcPct val="0"/>
        </a:spcAft>
        <a:buClr>
          <a:schemeClr val="accent1"/>
        </a:buClr>
        <a:buFont typeface="Arial" charset="0"/>
        <a:buChar char="•"/>
        <a:defRPr sz="1600" kern="1200">
          <a:solidFill>
            <a:schemeClr val="tx1"/>
          </a:solidFill>
          <a:latin typeface="+mn-lt"/>
          <a:ea typeface="ＭＳ Ｐゴシック" charset="0"/>
          <a:cs typeface="ＭＳ Ｐゴシック" charset="0"/>
        </a:defRPr>
      </a:lvl1pPr>
      <a:lvl2pPr marL="685800" indent="-228600" algn="l" rtl="0" eaLnBrk="0" fontAlgn="base" hangingPunct="0">
        <a:lnSpc>
          <a:spcPct val="90000"/>
        </a:lnSpc>
        <a:spcBef>
          <a:spcPts val="500"/>
        </a:spcBef>
        <a:spcAft>
          <a:spcPct val="0"/>
        </a:spcAft>
        <a:buFont typeface="Palatino Linotype" charset="0"/>
        <a:buChar char="-"/>
        <a:defRPr sz="1600" kern="1200">
          <a:solidFill>
            <a:schemeClr val="tx1"/>
          </a:solidFill>
          <a:latin typeface="+mn-lt"/>
          <a:ea typeface="ＭＳ Ｐゴシック" charset="0"/>
          <a:cs typeface="+mn-cs"/>
        </a:defRPr>
      </a:lvl2pPr>
      <a:lvl3pPr marL="1143000" indent="-228600" algn="l" rtl="0" eaLnBrk="0" fontAlgn="base" hangingPunct="0">
        <a:lnSpc>
          <a:spcPct val="90000"/>
        </a:lnSpc>
        <a:spcBef>
          <a:spcPts val="500"/>
        </a:spcBef>
        <a:spcAft>
          <a:spcPct val="0"/>
        </a:spcAft>
        <a:buFont typeface="Palatino Linotype" charset="0"/>
        <a:buChar char="-"/>
        <a:defRPr sz="1600" kern="1200">
          <a:solidFill>
            <a:schemeClr val="tx1"/>
          </a:solidFill>
          <a:latin typeface="+mn-lt"/>
          <a:ea typeface="ＭＳ Ｐゴシック" charset="0"/>
          <a:cs typeface="+mn-cs"/>
        </a:defRPr>
      </a:lvl3pPr>
      <a:lvl4pPr marL="1600200" indent="-228600" algn="l" rtl="0" eaLnBrk="0" fontAlgn="base" hangingPunct="0">
        <a:lnSpc>
          <a:spcPct val="90000"/>
        </a:lnSpc>
        <a:spcBef>
          <a:spcPts val="500"/>
        </a:spcBef>
        <a:spcAft>
          <a:spcPct val="0"/>
        </a:spcAft>
        <a:buFont typeface="Palatino Linotype" charset="0"/>
        <a:buChar char="-"/>
        <a:defRPr sz="1600" kern="1200">
          <a:solidFill>
            <a:schemeClr val="tx1"/>
          </a:solidFill>
          <a:latin typeface="+mn-lt"/>
          <a:ea typeface="ＭＳ Ｐゴシック" charset="0"/>
          <a:cs typeface="+mn-cs"/>
        </a:defRPr>
      </a:lvl4pPr>
      <a:lvl5pPr marL="2057400" indent="-228600" algn="l" rtl="0" eaLnBrk="0" fontAlgn="base" hangingPunct="0">
        <a:lnSpc>
          <a:spcPct val="90000"/>
        </a:lnSpc>
        <a:spcBef>
          <a:spcPts val="500"/>
        </a:spcBef>
        <a:spcAft>
          <a:spcPct val="0"/>
        </a:spcAft>
        <a:buFont typeface="Palatino Linotype" charset="0"/>
        <a:buChar char="-"/>
        <a:defRPr sz="1600" kern="1200">
          <a:solidFill>
            <a:schemeClr val="tx1"/>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jpg"/><Relationship Id="rId12" Type="http://schemas.openxmlformats.org/officeDocument/2006/relationships/image" Target="../media/image72.png"/><Relationship Id="rId17" Type="http://schemas.openxmlformats.org/officeDocument/2006/relationships/image" Target="../media/image77.png"/><Relationship Id="rId2" Type="http://schemas.openxmlformats.org/officeDocument/2006/relationships/notesSlide" Target="../notesSlides/notesSlide10.xml"/><Relationship Id="rId16" Type="http://schemas.openxmlformats.org/officeDocument/2006/relationships/image" Target="../media/image76.png"/><Relationship Id="rId1" Type="http://schemas.openxmlformats.org/officeDocument/2006/relationships/slideLayout" Target="../slideLayouts/slideLayout5.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5" Type="http://schemas.openxmlformats.org/officeDocument/2006/relationships/image" Target="../media/image75.png"/><Relationship Id="rId10" Type="http://schemas.openxmlformats.org/officeDocument/2006/relationships/image" Target="../media/image70.png"/><Relationship Id="rId4" Type="http://schemas.openxmlformats.org/officeDocument/2006/relationships/image" Target="../media/image64.tiff"/><Relationship Id="rId9" Type="http://schemas.openxmlformats.org/officeDocument/2006/relationships/image" Target="../media/image69.png"/><Relationship Id="rId14" Type="http://schemas.openxmlformats.org/officeDocument/2006/relationships/image" Target="../media/image74.png"/></Relationships>
</file>

<file path=ppt/slides/_rels/slide11.xml.rels><?xml version="1.0" encoding="UTF-8" standalone="yes"?>
<Relationships xmlns="http://schemas.openxmlformats.org/package/2006/relationships"><Relationship Id="rId117" Type="http://schemas.openxmlformats.org/officeDocument/2006/relationships/tags" Target="../tags/tag117.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170" Type="http://schemas.openxmlformats.org/officeDocument/2006/relationships/tags" Target="../tags/tag170.xml"/><Relationship Id="rId191" Type="http://schemas.openxmlformats.org/officeDocument/2006/relationships/image" Target="../media/image67.jpg"/><Relationship Id="rId107" Type="http://schemas.openxmlformats.org/officeDocument/2006/relationships/tags" Target="../tags/tag107.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image" Target="../media/image75.png"/><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slideLayout" Target="../slideLayouts/slideLayout5.xml"/><Relationship Id="rId6" Type="http://schemas.openxmlformats.org/officeDocument/2006/relationships/tags" Target="../tags/tag6.xml"/><Relationship Id="rId23" Type="http://schemas.openxmlformats.org/officeDocument/2006/relationships/tags" Target="../tags/tag23.xml"/><Relationship Id="rId119" Type="http://schemas.openxmlformats.org/officeDocument/2006/relationships/tags" Target="../tags/tag119.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172" Type="http://schemas.openxmlformats.org/officeDocument/2006/relationships/tags" Target="../tags/tag172.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109" Type="http://schemas.openxmlformats.org/officeDocument/2006/relationships/tags" Target="../tags/tag10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tags" Target="../tags/tag104.xml"/><Relationship Id="rId120" Type="http://schemas.openxmlformats.org/officeDocument/2006/relationships/tags" Target="../tags/tag120.xml"/><Relationship Id="rId125" Type="http://schemas.openxmlformats.org/officeDocument/2006/relationships/tags" Target="../tags/tag125.xml"/><Relationship Id="rId141" Type="http://schemas.openxmlformats.org/officeDocument/2006/relationships/tags" Target="../tags/tag141.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image" Target="../media/image70.png"/><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162" Type="http://schemas.openxmlformats.org/officeDocument/2006/relationships/tags" Target="../tags/tag162.xml"/><Relationship Id="rId183" Type="http://schemas.openxmlformats.org/officeDocument/2006/relationships/notesSlide" Target="../notesSlides/notesSlide11.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15" Type="http://schemas.openxmlformats.org/officeDocument/2006/relationships/tags" Target="../tags/tag115.xml"/><Relationship Id="rId131" Type="http://schemas.openxmlformats.org/officeDocument/2006/relationships/tags" Target="../tags/tag131.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61" Type="http://schemas.openxmlformats.org/officeDocument/2006/relationships/tags" Target="../tags/tag61.xml"/><Relationship Id="rId82" Type="http://schemas.openxmlformats.org/officeDocument/2006/relationships/tags" Target="../tags/tag82.xml"/><Relationship Id="rId152" Type="http://schemas.openxmlformats.org/officeDocument/2006/relationships/tags" Target="../tags/tag152.xml"/><Relationship Id="rId173" Type="http://schemas.openxmlformats.org/officeDocument/2006/relationships/tags" Target="../tags/tag173.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image" Target="../media/image78.jpeg"/><Relationship Id="rId189" Type="http://schemas.openxmlformats.org/officeDocument/2006/relationships/image" Target="../media/image65.png"/><Relationship Id="rId3" Type="http://schemas.openxmlformats.org/officeDocument/2006/relationships/tags" Target="../tags/tag3.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79" Type="http://schemas.openxmlformats.org/officeDocument/2006/relationships/tags" Target="../tags/tag179.xml"/><Relationship Id="rId190" Type="http://schemas.openxmlformats.org/officeDocument/2006/relationships/image" Target="../media/image69.png"/><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106" Type="http://schemas.openxmlformats.org/officeDocument/2006/relationships/tags" Target="../tags/tag106.xml"/><Relationship Id="rId127" Type="http://schemas.openxmlformats.org/officeDocument/2006/relationships/tags" Target="../tags/tag127.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78" Type="http://schemas.openxmlformats.org/officeDocument/2006/relationships/tags" Target="../tags/tag78.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48" Type="http://schemas.openxmlformats.org/officeDocument/2006/relationships/tags" Target="../tags/tag148.xml"/><Relationship Id="rId164" Type="http://schemas.openxmlformats.org/officeDocument/2006/relationships/tags" Target="../tags/tag164.xml"/><Relationship Id="rId169" Type="http://schemas.openxmlformats.org/officeDocument/2006/relationships/tags" Target="../tags/tag169.xml"/><Relationship Id="rId185" Type="http://schemas.openxmlformats.org/officeDocument/2006/relationships/image" Target="../media/image79.png"/><Relationship Id="rId4" Type="http://schemas.openxmlformats.org/officeDocument/2006/relationships/tags" Target="../tags/tag4.xml"/><Relationship Id="rId9" Type="http://schemas.openxmlformats.org/officeDocument/2006/relationships/tags" Target="../tags/tag9.xml"/><Relationship Id="rId180" Type="http://schemas.openxmlformats.org/officeDocument/2006/relationships/tags" Target="../tags/tag180.xml"/><Relationship Id="rId26" Type="http://schemas.openxmlformats.org/officeDocument/2006/relationships/tags" Target="../tags/tag26.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16" Type="http://schemas.openxmlformats.org/officeDocument/2006/relationships/tags" Target="../tags/tag16.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image" Target="../media/image80.png"/><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image" Target="../media/image64.tiff"/><Relationship Id="rId1" Type="http://schemas.openxmlformats.org/officeDocument/2006/relationships/tags" Target="../tags/tag1.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s>
</file>

<file path=ppt/slides/_rels/slide12.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jpg"/><Relationship Id="rId7" Type="http://schemas.openxmlformats.org/officeDocument/2006/relationships/image" Target="../media/image87.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tiff"/></Relationships>
</file>

<file path=ppt/slides/_rels/slide15.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jpg"/><Relationship Id="rId7" Type="http://schemas.openxmlformats.org/officeDocument/2006/relationships/image" Target="../media/image93.jpe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92.jpg"/><Relationship Id="rId11" Type="http://schemas.openxmlformats.org/officeDocument/2006/relationships/image" Target="../media/image97.png"/><Relationship Id="rId5" Type="http://schemas.openxmlformats.org/officeDocument/2006/relationships/image" Target="../media/image91.tiff"/><Relationship Id="rId10" Type="http://schemas.openxmlformats.org/officeDocument/2006/relationships/image" Target="../media/image96.png"/><Relationship Id="rId4" Type="http://schemas.openxmlformats.org/officeDocument/2006/relationships/image" Target="../media/image90.JPG"/><Relationship Id="rId9" Type="http://schemas.openxmlformats.org/officeDocument/2006/relationships/image" Target="../media/image9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file:////Volumes/Neo%20Files/Smart%20Energy%20Innovation/Utforming/SEN_Logo_Neg.png" TargetMode="External"/><Relationship Id="rId5" Type="http://schemas.openxmlformats.org/officeDocument/2006/relationships/image" Target="../media/image5.png"/><Relationship Id="rId4" Type="http://schemas.openxmlformats.org/officeDocument/2006/relationships/image" Target="file:////Volumes/Neo%20Files/Smart%20Energy%20Innovation/Utforming/Pics/shutterstock_63825778_5Mb.jp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hyperlink" Target="http://www.smartenergynetwork.org/" TargetMode="External"/><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image" Target="file:////Volumes/Neo%20Files/Smart%20Energy%20Innovation/Utforming/SEN_Logo_Neg.png" TargetMode="External"/><Relationship Id="rId5" Type="http://schemas.openxmlformats.org/officeDocument/2006/relationships/image" Target="../media/image5.png"/><Relationship Id="rId4" Type="http://schemas.openxmlformats.org/officeDocument/2006/relationships/image" Target="file:////Volumes/Neo%20Files/Smart%20Energy%20Innovation/Utforming/Pics/shutterstock_63825778_5Mb.jpg"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1.jpeg"/><Relationship Id="rId5" Type="http://schemas.openxmlformats.org/officeDocument/2006/relationships/image" Target="../media/image10.jpeg"/><Relationship Id="rId10" Type="http://schemas.openxmlformats.org/officeDocument/2006/relationships/image" Target="../media/image15.png"/><Relationship Id="rId4" Type="http://schemas.openxmlformats.org/officeDocument/2006/relationships/image" Target="../media/image9.jpe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svg"/><Relationship Id="rId39" Type="http://schemas.openxmlformats.org/officeDocument/2006/relationships/image" Target="../media/image53.png"/><Relationship Id="rId21" Type="http://schemas.openxmlformats.org/officeDocument/2006/relationships/image" Target="../media/image35.png"/><Relationship Id="rId34" Type="http://schemas.openxmlformats.org/officeDocument/2006/relationships/image" Target="../media/image48.png"/><Relationship Id="rId42" Type="http://schemas.openxmlformats.org/officeDocument/2006/relationships/image" Target="../media/image56.png"/><Relationship Id="rId47" Type="http://schemas.openxmlformats.org/officeDocument/2006/relationships/image" Target="../media/image61.png"/><Relationship Id="rId7" Type="http://schemas.openxmlformats.org/officeDocument/2006/relationships/image" Target="../media/image21.png"/><Relationship Id="rId2" Type="http://schemas.openxmlformats.org/officeDocument/2006/relationships/notesSlide" Target="../notesSlides/notesSlide9.xml"/><Relationship Id="rId16" Type="http://schemas.openxmlformats.org/officeDocument/2006/relationships/image" Target="../media/image30.png"/><Relationship Id="rId29" Type="http://schemas.openxmlformats.org/officeDocument/2006/relationships/image" Target="../media/image43.png"/><Relationship Id="rId1" Type="http://schemas.openxmlformats.org/officeDocument/2006/relationships/slideLayout" Target="../slideLayouts/slideLayout5.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8.png"/><Relationship Id="rId32" Type="http://schemas.openxmlformats.org/officeDocument/2006/relationships/image" Target="../media/image46.png"/><Relationship Id="rId37" Type="http://schemas.openxmlformats.org/officeDocument/2006/relationships/image" Target="../media/image51.png"/><Relationship Id="rId40" Type="http://schemas.openxmlformats.org/officeDocument/2006/relationships/image" Target="../media/image54.png"/><Relationship Id="rId45" Type="http://schemas.openxmlformats.org/officeDocument/2006/relationships/image" Target="../media/image59.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png"/><Relationship Id="rId36" Type="http://schemas.openxmlformats.org/officeDocument/2006/relationships/image" Target="../media/image50.png"/><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5.png"/><Relationship Id="rId44" Type="http://schemas.openxmlformats.org/officeDocument/2006/relationships/image" Target="../media/image58.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tiff"/><Relationship Id="rId22" Type="http://schemas.openxmlformats.org/officeDocument/2006/relationships/image" Target="../media/image36.png"/><Relationship Id="rId27" Type="http://schemas.openxmlformats.org/officeDocument/2006/relationships/image" Target="../media/image41.png"/><Relationship Id="rId30" Type="http://schemas.openxmlformats.org/officeDocument/2006/relationships/image" Target="../media/image44.png"/><Relationship Id="rId35" Type="http://schemas.openxmlformats.org/officeDocument/2006/relationships/image" Target="../media/image49.png"/><Relationship Id="rId43" Type="http://schemas.openxmlformats.org/officeDocument/2006/relationships/image" Target="../media/image57.png"/><Relationship Id="rId48" Type="http://schemas.openxmlformats.org/officeDocument/2006/relationships/image" Target="../media/image62.png"/><Relationship Id="rId8" Type="http://schemas.openxmlformats.org/officeDocument/2006/relationships/image" Target="../media/image22.png"/><Relationship Id="rId3" Type="http://schemas.openxmlformats.org/officeDocument/2006/relationships/image" Target="../media/image17.pn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33" Type="http://schemas.openxmlformats.org/officeDocument/2006/relationships/image" Target="../media/image47.png"/><Relationship Id="rId38" Type="http://schemas.openxmlformats.org/officeDocument/2006/relationships/image" Target="../media/image52.png"/><Relationship Id="rId46" Type="http://schemas.openxmlformats.org/officeDocument/2006/relationships/image" Target="../media/image60.png"/><Relationship Id="rId20" Type="http://schemas.openxmlformats.org/officeDocument/2006/relationships/image" Target="../media/image34.png"/><Relationship Id="rId41"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1" name="Bild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44608"/>
            <a:ext cx="12457113" cy="6962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Bilde 1">
            <a:extLst>
              <a:ext uri="{FF2B5EF4-FFF2-40B4-BE49-F238E27FC236}">
                <a16:creationId xmlns:a16="http://schemas.microsoft.com/office/drawing/2014/main" id="{792BE56C-27FD-C04B-8B2E-F95BA0C407A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44608"/>
            <a:ext cx="12457113" cy="6962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Bilde 1">
            <a:extLst>
              <a:ext uri="{FF2B5EF4-FFF2-40B4-BE49-F238E27FC236}">
                <a16:creationId xmlns:a16="http://schemas.microsoft.com/office/drawing/2014/main" id="{F082F6EE-95B3-4541-A284-1EC990C6BBA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516" y="-842770"/>
            <a:ext cx="12457113" cy="6962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
            <a:extLst>
              <a:ext uri="{FF2B5EF4-FFF2-40B4-BE49-F238E27FC236}">
                <a16:creationId xmlns:a16="http://schemas.microsoft.com/office/drawing/2014/main" id="{BAD4EEFB-22B1-1F43-AE82-341BB3A8DD2C}"/>
              </a:ext>
            </a:extLst>
          </p:cNvPr>
          <p:cNvSpPr txBox="1">
            <a:spLocks noChangeArrowheads="1"/>
          </p:cNvSpPr>
          <p:nvPr/>
        </p:nvSpPr>
        <p:spPr bwMode="auto">
          <a:xfrm>
            <a:off x="2983627" y="5055472"/>
            <a:ext cx="9142634"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Clr>
                <a:schemeClr val="accent1"/>
              </a:buClr>
              <a:buFont typeface="Arial" charset="0"/>
              <a:buChar char="•"/>
              <a:defRPr sz="1600">
                <a:solidFill>
                  <a:schemeClr val="tx1"/>
                </a:solidFill>
                <a:latin typeface="Calibri" charset="0"/>
                <a:ea typeface="ＭＳ Ｐゴシック" charset="-128"/>
              </a:defRPr>
            </a:lvl1pPr>
            <a:lvl2pPr marL="742950" indent="-285750">
              <a:lnSpc>
                <a:spcPct val="90000"/>
              </a:lnSpc>
              <a:spcBef>
                <a:spcPts val="500"/>
              </a:spcBef>
              <a:buFont typeface="Palatino Linotype" charset="0"/>
              <a:buChar char="-"/>
              <a:defRPr sz="1600">
                <a:solidFill>
                  <a:schemeClr val="tx1"/>
                </a:solidFill>
                <a:latin typeface="Calibri" charset="0"/>
                <a:ea typeface="ＭＳ Ｐゴシック" charset="-128"/>
              </a:defRPr>
            </a:lvl2pPr>
            <a:lvl3pPr marL="1143000" indent="-228600">
              <a:lnSpc>
                <a:spcPct val="90000"/>
              </a:lnSpc>
              <a:spcBef>
                <a:spcPts val="500"/>
              </a:spcBef>
              <a:buFont typeface="Palatino Linotype" charset="0"/>
              <a:buChar char="-"/>
              <a:defRPr sz="1600">
                <a:solidFill>
                  <a:schemeClr val="tx1"/>
                </a:solidFill>
                <a:latin typeface="Calibri" charset="0"/>
                <a:ea typeface="ＭＳ Ｐゴシック" charset="-128"/>
              </a:defRPr>
            </a:lvl3pPr>
            <a:lvl4pPr marL="1600200" indent="-228600">
              <a:lnSpc>
                <a:spcPct val="90000"/>
              </a:lnSpc>
              <a:spcBef>
                <a:spcPts val="500"/>
              </a:spcBef>
              <a:buFont typeface="Palatino Linotype" charset="0"/>
              <a:buChar char="-"/>
              <a:defRPr sz="1600">
                <a:solidFill>
                  <a:schemeClr val="tx1"/>
                </a:solidFill>
                <a:latin typeface="Calibri" charset="0"/>
                <a:ea typeface="ＭＳ Ｐゴシック" charset="-128"/>
              </a:defRPr>
            </a:lvl4pPr>
            <a:lvl5pPr marL="2057400" indent="-228600">
              <a:lnSpc>
                <a:spcPct val="90000"/>
              </a:lnSpc>
              <a:spcBef>
                <a:spcPts val="500"/>
              </a:spcBef>
              <a:buFont typeface="Palatino Linotype" charset="0"/>
              <a:buChar char="-"/>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9pPr>
          </a:lstStyle>
          <a:p>
            <a:pPr eaLnBrk="1" hangingPunct="1">
              <a:lnSpc>
                <a:spcPct val="100000"/>
              </a:lnSpc>
              <a:spcBef>
                <a:spcPct val="0"/>
              </a:spcBef>
              <a:buClrTx/>
              <a:buFontTx/>
              <a:buNone/>
            </a:pPr>
            <a:r>
              <a:rPr lang="en-US" altLang="nb-NO" sz="4200" b="1" dirty="0">
                <a:solidFill>
                  <a:schemeClr val="bg1"/>
                </a:solidFill>
              </a:rPr>
              <a:t>SMART ENERGY NETWORK – </a:t>
            </a:r>
          </a:p>
          <a:p>
            <a:pPr eaLnBrk="1" hangingPunct="1">
              <a:lnSpc>
                <a:spcPct val="100000"/>
              </a:lnSpc>
              <a:spcBef>
                <a:spcPct val="0"/>
              </a:spcBef>
              <a:buClrTx/>
              <a:buFontTx/>
              <a:buNone/>
            </a:pPr>
            <a:r>
              <a:rPr lang="en-US" altLang="nb-NO" sz="4200" b="1" dirty="0">
                <a:solidFill>
                  <a:schemeClr val="bg1"/>
                </a:solidFill>
              </a:rPr>
              <a:t>Change – get smarter</a:t>
            </a:r>
            <a:endParaRPr lang="en-US" altLang="nb-NO" sz="3000" b="1" dirty="0">
              <a:solidFill>
                <a:schemeClr val="bg1"/>
              </a:solidFill>
            </a:endParaRPr>
          </a:p>
        </p:txBody>
      </p:sp>
    </p:spTree>
    <p:extLst>
      <p:ext uri="{BB962C8B-B14F-4D97-AF65-F5344CB8AC3E}">
        <p14:creationId xmlns:p14="http://schemas.microsoft.com/office/powerpoint/2010/main" val="2916580106"/>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C7F7F-083E-894B-A08B-F3916EC7398F}"/>
              </a:ext>
            </a:extLst>
          </p:cNvPr>
          <p:cNvSpPr>
            <a:spLocks noGrp="1"/>
          </p:cNvSpPr>
          <p:nvPr>
            <p:ph type="title"/>
          </p:nvPr>
        </p:nvSpPr>
        <p:spPr>
          <a:xfrm>
            <a:off x="3565076" y="411681"/>
            <a:ext cx="8449039" cy="888737"/>
          </a:xfrm>
        </p:spPr>
        <p:txBody>
          <a:bodyPr/>
          <a:lstStyle/>
          <a:p>
            <a:r>
              <a:rPr lang="nb-NO" dirty="0">
                <a:solidFill>
                  <a:schemeClr val="bg1"/>
                </a:solidFill>
              </a:rPr>
              <a:t>Norwegian and </a:t>
            </a:r>
            <a:r>
              <a:rPr lang="nb-NO" dirty="0" err="1">
                <a:solidFill>
                  <a:schemeClr val="bg1"/>
                </a:solidFill>
              </a:rPr>
              <a:t>international</a:t>
            </a:r>
            <a:r>
              <a:rPr lang="nb-NO" dirty="0">
                <a:solidFill>
                  <a:schemeClr val="bg1"/>
                </a:solidFill>
              </a:rPr>
              <a:t> CO-partners</a:t>
            </a:r>
          </a:p>
        </p:txBody>
      </p:sp>
      <p:pic>
        <p:nvPicPr>
          <p:cNvPr id="13" name="Bilde 12">
            <a:extLst>
              <a:ext uri="{FF2B5EF4-FFF2-40B4-BE49-F238E27FC236}">
                <a16:creationId xmlns:a16="http://schemas.microsoft.com/office/drawing/2014/main" id="{5FC56CE4-7610-B94B-99FC-E530E24C23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9493" y="2182742"/>
            <a:ext cx="1132821" cy="474706"/>
          </a:xfrm>
          <a:prstGeom prst="rect">
            <a:avLst/>
          </a:prstGeom>
        </p:spPr>
      </p:pic>
      <p:pic>
        <p:nvPicPr>
          <p:cNvPr id="8" name="Bilde 2">
            <a:extLst>
              <a:ext uri="{FF2B5EF4-FFF2-40B4-BE49-F238E27FC236}">
                <a16:creationId xmlns:a16="http://schemas.microsoft.com/office/drawing/2014/main" id="{CC72C367-B357-0044-9E17-14B1D094EEA4}"/>
              </a:ext>
            </a:extLst>
          </p:cNvPr>
          <p:cNvPicPr>
            <a:picLocks/>
          </p:cNvPicPr>
          <p:nvPr/>
        </p:nvPicPr>
        <p:blipFill>
          <a:blip r:embed="rId4">
            <a:extLst>
              <a:ext uri="{28A0092B-C50C-407E-A947-70E740481C1C}">
                <a14:useLocalDpi xmlns:a14="http://schemas.microsoft.com/office/drawing/2010/main" val="0"/>
              </a:ext>
            </a:extLst>
          </a:blip>
          <a:stretch>
            <a:fillRect/>
          </a:stretch>
        </p:blipFill>
        <p:spPr bwMode="auto">
          <a:xfrm>
            <a:off x="7060818" y="3740571"/>
            <a:ext cx="1235846" cy="1228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pic>
      <p:pic>
        <p:nvPicPr>
          <p:cNvPr id="9" name="Picture 4">
            <a:extLst>
              <a:ext uri="{FF2B5EF4-FFF2-40B4-BE49-F238E27FC236}">
                <a16:creationId xmlns:a16="http://schemas.microsoft.com/office/drawing/2014/main" id="{735B5654-E268-E149-9C98-044EA65BAE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3297" y="3604126"/>
            <a:ext cx="2125974" cy="617545"/>
          </a:xfrm>
          <a:prstGeom prst="rect">
            <a:avLst/>
          </a:prstGeom>
        </p:spPr>
      </p:pic>
      <p:cxnSp>
        <p:nvCxnSpPr>
          <p:cNvPr id="10" name="Rett linje 9">
            <a:extLst>
              <a:ext uri="{FF2B5EF4-FFF2-40B4-BE49-F238E27FC236}">
                <a16:creationId xmlns:a16="http://schemas.microsoft.com/office/drawing/2014/main" id="{EE275B14-2D32-1E46-BF9E-0F9EB29A97EF}"/>
              </a:ext>
            </a:extLst>
          </p:cNvPr>
          <p:cNvCxnSpPr>
            <a:cxnSpLocks/>
          </p:cNvCxnSpPr>
          <p:nvPr/>
        </p:nvCxnSpPr>
        <p:spPr>
          <a:xfrm>
            <a:off x="533297" y="2967473"/>
            <a:ext cx="11221397"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A close up of a sign&#13;&#10;&#13;&#10;Description automatically generated">
            <a:extLst>
              <a:ext uri="{FF2B5EF4-FFF2-40B4-BE49-F238E27FC236}">
                <a16:creationId xmlns:a16="http://schemas.microsoft.com/office/drawing/2014/main" id="{D412FC0B-9BB4-1E47-AC64-0E9192159F0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94026" y="4233225"/>
            <a:ext cx="1462275" cy="943754"/>
          </a:xfrm>
          <a:prstGeom prst="rect">
            <a:avLst/>
          </a:prstGeom>
        </p:spPr>
      </p:pic>
      <p:pic>
        <p:nvPicPr>
          <p:cNvPr id="4" name="Bilde 3" descr="Et bilde som inneholder flaske&#10;&#10;Automatisk generert beskrivelse">
            <a:extLst>
              <a:ext uri="{FF2B5EF4-FFF2-40B4-BE49-F238E27FC236}">
                <a16:creationId xmlns:a16="http://schemas.microsoft.com/office/drawing/2014/main" id="{FED2C66E-A64B-404D-84DD-B23D303E08B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50174" y="3795108"/>
            <a:ext cx="1213613" cy="1166118"/>
          </a:xfrm>
          <a:prstGeom prst="rect">
            <a:avLst/>
          </a:prstGeom>
        </p:spPr>
      </p:pic>
      <p:pic>
        <p:nvPicPr>
          <p:cNvPr id="11" name="Bilde 10" descr="Et bilde som inneholder tegning, enhet&#10;&#10;Automatisk generert beskrivelse">
            <a:extLst>
              <a:ext uri="{FF2B5EF4-FFF2-40B4-BE49-F238E27FC236}">
                <a16:creationId xmlns:a16="http://schemas.microsoft.com/office/drawing/2014/main" id="{048C7CA0-6908-264E-B45B-E2CC08DFAB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36276" y="2054085"/>
            <a:ext cx="1218418" cy="708619"/>
          </a:xfrm>
          <a:prstGeom prst="rect">
            <a:avLst/>
          </a:prstGeom>
        </p:spPr>
      </p:pic>
      <p:pic>
        <p:nvPicPr>
          <p:cNvPr id="19" name="Bilde 18" descr="Et bilde som inneholder servise, tallerken, tegning&#10;&#10;Automatisk generert beskrivelse">
            <a:extLst>
              <a:ext uri="{FF2B5EF4-FFF2-40B4-BE49-F238E27FC236}">
                <a16:creationId xmlns:a16="http://schemas.microsoft.com/office/drawing/2014/main" id="{E0B59408-599E-8F47-A725-4FF6271EA42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8713" y="4418440"/>
            <a:ext cx="1324658" cy="617545"/>
          </a:xfrm>
          <a:prstGeom prst="rect">
            <a:avLst/>
          </a:prstGeom>
        </p:spPr>
      </p:pic>
      <p:pic>
        <p:nvPicPr>
          <p:cNvPr id="21" name="Bilde 20">
            <a:extLst>
              <a:ext uri="{FF2B5EF4-FFF2-40B4-BE49-F238E27FC236}">
                <a16:creationId xmlns:a16="http://schemas.microsoft.com/office/drawing/2014/main" id="{AC7F0627-E056-7647-80EC-5C86D32836E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375043" y="3890527"/>
            <a:ext cx="2540000" cy="1016000"/>
          </a:xfrm>
          <a:prstGeom prst="rect">
            <a:avLst/>
          </a:prstGeom>
        </p:spPr>
      </p:pic>
      <p:pic>
        <p:nvPicPr>
          <p:cNvPr id="23" name="Bilde 22" descr="Et bilde som inneholder bord&#10;&#10;Automatisk generert beskrivelse">
            <a:extLst>
              <a:ext uri="{FF2B5EF4-FFF2-40B4-BE49-F238E27FC236}">
                <a16:creationId xmlns:a16="http://schemas.microsoft.com/office/drawing/2014/main" id="{F6376442-F5C4-DF47-9F0C-CBD69D3FA1C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560894" y="3904135"/>
            <a:ext cx="1193800" cy="914400"/>
          </a:xfrm>
          <a:prstGeom prst="rect">
            <a:avLst/>
          </a:prstGeom>
        </p:spPr>
      </p:pic>
      <p:pic>
        <p:nvPicPr>
          <p:cNvPr id="25" name="Bilde 24" descr="Et bilde som inneholder utendørs, ball, skilt, spiller&#10;&#10;Automatisk generert beskrivelse">
            <a:extLst>
              <a:ext uri="{FF2B5EF4-FFF2-40B4-BE49-F238E27FC236}">
                <a16:creationId xmlns:a16="http://schemas.microsoft.com/office/drawing/2014/main" id="{5B47E3F2-AAAF-CC4F-A9E9-F0631C0BDA5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94593" y="3697842"/>
            <a:ext cx="2467432" cy="617545"/>
          </a:xfrm>
          <a:prstGeom prst="rect">
            <a:avLst/>
          </a:prstGeom>
        </p:spPr>
      </p:pic>
      <p:sp>
        <p:nvSpPr>
          <p:cNvPr id="26" name="Rektangel 25">
            <a:extLst>
              <a:ext uri="{FF2B5EF4-FFF2-40B4-BE49-F238E27FC236}">
                <a16:creationId xmlns:a16="http://schemas.microsoft.com/office/drawing/2014/main" id="{076BE6D6-289B-5F45-8FCE-01EBF2BC4DCE}"/>
              </a:ext>
            </a:extLst>
          </p:cNvPr>
          <p:cNvSpPr/>
          <p:nvPr/>
        </p:nvSpPr>
        <p:spPr>
          <a:xfrm>
            <a:off x="533297" y="3604126"/>
            <a:ext cx="3721394" cy="158921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Rektangel 26">
            <a:extLst>
              <a:ext uri="{FF2B5EF4-FFF2-40B4-BE49-F238E27FC236}">
                <a16:creationId xmlns:a16="http://schemas.microsoft.com/office/drawing/2014/main" id="{BB895767-A5A6-B747-9101-A4D06160158F}"/>
              </a:ext>
            </a:extLst>
          </p:cNvPr>
          <p:cNvSpPr/>
          <p:nvPr/>
        </p:nvSpPr>
        <p:spPr>
          <a:xfrm>
            <a:off x="4319466" y="3614632"/>
            <a:ext cx="2582838" cy="158921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Rektangel 27">
            <a:extLst>
              <a:ext uri="{FF2B5EF4-FFF2-40B4-BE49-F238E27FC236}">
                <a16:creationId xmlns:a16="http://schemas.microsoft.com/office/drawing/2014/main" id="{6B5CF519-1F2B-BF47-8220-18F93DFFD79E}"/>
              </a:ext>
            </a:extLst>
          </p:cNvPr>
          <p:cNvSpPr/>
          <p:nvPr/>
        </p:nvSpPr>
        <p:spPr>
          <a:xfrm>
            <a:off x="8419344" y="3625138"/>
            <a:ext cx="3365015" cy="158921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Rektangel 28">
            <a:extLst>
              <a:ext uri="{FF2B5EF4-FFF2-40B4-BE49-F238E27FC236}">
                <a16:creationId xmlns:a16="http://schemas.microsoft.com/office/drawing/2014/main" id="{5EC1FF1C-9470-884C-83CE-676E75EC13DC}"/>
              </a:ext>
            </a:extLst>
          </p:cNvPr>
          <p:cNvSpPr/>
          <p:nvPr/>
        </p:nvSpPr>
        <p:spPr>
          <a:xfrm>
            <a:off x="6980683" y="3625138"/>
            <a:ext cx="1330424" cy="158921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TekstSylinder 29">
            <a:extLst>
              <a:ext uri="{FF2B5EF4-FFF2-40B4-BE49-F238E27FC236}">
                <a16:creationId xmlns:a16="http://schemas.microsoft.com/office/drawing/2014/main" id="{F5AA5432-825D-234A-9F74-15C11C327759}"/>
              </a:ext>
            </a:extLst>
          </p:cNvPr>
          <p:cNvSpPr txBox="1"/>
          <p:nvPr/>
        </p:nvSpPr>
        <p:spPr>
          <a:xfrm>
            <a:off x="2036434" y="5305599"/>
            <a:ext cx="813739" cy="400110"/>
          </a:xfrm>
          <a:prstGeom prst="rect">
            <a:avLst/>
          </a:prstGeom>
          <a:noFill/>
        </p:spPr>
        <p:txBody>
          <a:bodyPr wrap="square" rtlCol="0">
            <a:spAutoFit/>
          </a:bodyPr>
          <a:lstStyle/>
          <a:p>
            <a:r>
              <a:rPr lang="nb-NO" sz="2000" b="1"/>
              <a:t>USA</a:t>
            </a:r>
          </a:p>
        </p:txBody>
      </p:sp>
      <p:sp>
        <p:nvSpPr>
          <p:cNvPr id="31" name="TekstSylinder 30">
            <a:extLst>
              <a:ext uri="{FF2B5EF4-FFF2-40B4-BE49-F238E27FC236}">
                <a16:creationId xmlns:a16="http://schemas.microsoft.com/office/drawing/2014/main" id="{85C81F85-F4E0-FA43-9F57-67F71C6625BE}"/>
              </a:ext>
            </a:extLst>
          </p:cNvPr>
          <p:cNvSpPr txBox="1"/>
          <p:nvPr/>
        </p:nvSpPr>
        <p:spPr>
          <a:xfrm>
            <a:off x="5026641" y="5300339"/>
            <a:ext cx="1364019" cy="400110"/>
          </a:xfrm>
          <a:prstGeom prst="rect">
            <a:avLst/>
          </a:prstGeom>
          <a:noFill/>
        </p:spPr>
        <p:txBody>
          <a:bodyPr wrap="square" rtlCol="0">
            <a:spAutoFit/>
          </a:bodyPr>
          <a:lstStyle/>
          <a:p>
            <a:r>
              <a:rPr lang="nb-NO" sz="2000" b="1"/>
              <a:t>EUROPA</a:t>
            </a:r>
          </a:p>
        </p:txBody>
      </p:sp>
      <p:sp>
        <p:nvSpPr>
          <p:cNvPr id="32" name="TekstSylinder 31">
            <a:extLst>
              <a:ext uri="{FF2B5EF4-FFF2-40B4-BE49-F238E27FC236}">
                <a16:creationId xmlns:a16="http://schemas.microsoft.com/office/drawing/2014/main" id="{40398D44-16B2-8A47-9833-A6AF7D958D3B}"/>
              </a:ext>
            </a:extLst>
          </p:cNvPr>
          <p:cNvSpPr txBox="1"/>
          <p:nvPr/>
        </p:nvSpPr>
        <p:spPr>
          <a:xfrm>
            <a:off x="7228569" y="5279313"/>
            <a:ext cx="1364019" cy="400110"/>
          </a:xfrm>
          <a:prstGeom prst="rect">
            <a:avLst/>
          </a:prstGeom>
          <a:noFill/>
        </p:spPr>
        <p:txBody>
          <a:bodyPr wrap="square" rtlCol="0">
            <a:spAutoFit/>
          </a:bodyPr>
          <a:lstStyle/>
          <a:p>
            <a:r>
              <a:rPr lang="nb-NO" sz="2000" b="1"/>
              <a:t>ISRAEL</a:t>
            </a:r>
          </a:p>
        </p:txBody>
      </p:sp>
      <p:sp>
        <p:nvSpPr>
          <p:cNvPr id="33" name="TekstSylinder 32">
            <a:extLst>
              <a:ext uri="{FF2B5EF4-FFF2-40B4-BE49-F238E27FC236}">
                <a16:creationId xmlns:a16="http://schemas.microsoft.com/office/drawing/2014/main" id="{E3651A98-0E9D-FD41-B481-57D4C742BAE5}"/>
              </a:ext>
            </a:extLst>
          </p:cNvPr>
          <p:cNvSpPr txBox="1"/>
          <p:nvPr/>
        </p:nvSpPr>
        <p:spPr>
          <a:xfrm>
            <a:off x="9698506" y="5274053"/>
            <a:ext cx="1364019" cy="400110"/>
          </a:xfrm>
          <a:prstGeom prst="rect">
            <a:avLst/>
          </a:prstGeom>
          <a:noFill/>
        </p:spPr>
        <p:txBody>
          <a:bodyPr wrap="square" rtlCol="0">
            <a:spAutoFit/>
          </a:bodyPr>
          <a:lstStyle/>
          <a:p>
            <a:r>
              <a:rPr lang="nb-NO" sz="2000" b="1"/>
              <a:t>ASIA</a:t>
            </a:r>
          </a:p>
        </p:txBody>
      </p:sp>
      <p:pic>
        <p:nvPicPr>
          <p:cNvPr id="14" name="Bilde 13" descr="Et bilde som inneholder kniv&#10;&#10;Automatisk generert beskrivelse">
            <a:extLst>
              <a:ext uri="{FF2B5EF4-FFF2-40B4-BE49-F238E27FC236}">
                <a16:creationId xmlns:a16="http://schemas.microsoft.com/office/drawing/2014/main" id="{DC2D7045-D107-9946-A0EB-DD0F227173A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891162" y="2013377"/>
            <a:ext cx="2489353" cy="848282"/>
          </a:xfrm>
          <a:prstGeom prst="rect">
            <a:avLst/>
          </a:prstGeom>
        </p:spPr>
      </p:pic>
      <p:pic>
        <p:nvPicPr>
          <p:cNvPr id="16" name="Bilde 15" descr="Et bilde som inneholder lys, tegning, skilt&#10;&#10;Automatisk generert beskrivelse">
            <a:extLst>
              <a:ext uri="{FF2B5EF4-FFF2-40B4-BE49-F238E27FC236}">
                <a16:creationId xmlns:a16="http://schemas.microsoft.com/office/drawing/2014/main" id="{9861525B-5F59-C740-A5E1-1D7715CDABE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540195" y="2108632"/>
            <a:ext cx="1237547" cy="622926"/>
          </a:xfrm>
          <a:prstGeom prst="rect">
            <a:avLst/>
          </a:prstGeom>
        </p:spPr>
      </p:pic>
      <p:pic>
        <p:nvPicPr>
          <p:cNvPr id="34" name="Bilde 33" descr="Et bilde som inneholder tegning&#10;&#10;Automatisk generert beskrivelse">
            <a:extLst>
              <a:ext uri="{FF2B5EF4-FFF2-40B4-BE49-F238E27FC236}">
                <a16:creationId xmlns:a16="http://schemas.microsoft.com/office/drawing/2014/main" id="{7D069A0F-D569-AB42-A0B6-86FDE10151CA}"/>
              </a:ext>
            </a:extLst>
          </p:cNvPr>
          <p:cNvPicPr>
            <a:picLocks noChangeAspect="1"/>
          </p:cNvPicPr>
          <p:nvPr/>
        </p:nvPicPr>
        <p:blipFill>
          <a:blip r:embed="rId15"/>
          <a:stretch>
            <a:fillRect/>
          </a:stretch>
        </p:blipFill>
        <p:spPr>
          <a:xfrm>
            <a:off x="4870151" y="5002843"/>
            <a:ext cx="1500567" cy="187571"/>
          </a:xfrm>
          <a:prstGeom prst="rect">
            <a:avLst/>
          </a:prstGeom>
          <a:ln>
            <a:solidFill>
              <a:schemeClr val="tx1"/>
            </a:solidFill>
          </a:ln>
        </p:spPr>
      </p:pic>
      <p:pic>
        <p:nvPicPr>
          <p:cNvPr id="17" name="Plassholder for innhold 16" descr="Et bilde som inneholder tekst, skilt&#10;&#10;Automatisk generert beskrivelse">
            <a:extLst>
              <a:ext uri="{FF2B5EF4-FFF2-40B4-BE49-F238E27FC236}">
                <a16:creationId xmlns:a16="http://schemas.microsoft.com/office/drawing/2014/main" id="{04CB3CE8-9343-1146-9CF3-FA0622158139}"/>
              </a:ext>
            </a:extLst>
          </p:cNvPr>
          <p:cNvPicPr>
            <a:picLocks noGrp="1" noChangeAspect="1"/>
          </p:cNvPicPr>
          <p:nvPr>
            <p:ph idx="1"/>
          </p:nvPr>
        </p:nvPicPr>
        <p:blipFill>
          <a:blip r:embed="rId16">
            <a:extLst>
              <a:ext uri="{28A0092B-C50C-407E-A947-70E740481C1C}">
                <a14:useLocalDpi xmlns:a14="http://schemas.microsoft.com/office/drawing/2010/main" val="0"/>
              </a:ext>
            </a:extLst>
          </a:blip>
          <a:stretch>
            <a:fillRect/>
          </a:stretch>
        </p:blipFill>
        <p:spPr>
          <a:xfrm>
            <a:off x="408261" y="2110972"/>
            <a:ext cx="2506089" cy="591137"/>
          </a:xfrm>
        </p:spPr>
      </p:pic>
      <p:pic>
        <p:nvPicPr>
          <p:cNvPr id="5" name="Bilde 4" descr="Et bilde som inneholder tekst&#10;&#10;Automatisk generert beskrivelse">
            <a:extLst>
              <a:ext uri="{FF2B5EF4-FFF2-40B4-BE49-F238E27FC236}">
                <a16:creationId xmlns:a16="http://schemas.microsoft.com/office/drawing/2014/main" id="{084ECD00-1A7D-C541-ADBB-1C4EAB322E6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019866" y="2124527"/>
            <a:ext cx="2181089" cy="591137"/>
          </a:xfrm>
          <a:prstGeom prst="rect">
            <a:avLst/>
          </a:prstGeom>
        </p:spPr>
      </p:pic>
    </p:spTree>
    <p:extLst>
      <p:ext uri="{BB962C8B-B14F-4D97-AF65-F5344CB8AC3E}">
        <p14:creationId xmlns:p14="http://schemas.microsoft.com/office/powerpoint/2010/main" val="3119377988"/>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10">
            <a:extLst>
              <a:ext uri="{FF2B5EF4-FFF2-40B4-BE49-F238E27FC236}">
                <a16:creationId xmlns:a16="http://schemas.microsoft.com/office/drawing/2014/main" id="{8EFD1990-87C6-B74F-9A46-1AC4AEE10B8A}"/>
              </a:ext>
            </a:extLst>
          </p:cNvPr>
          <p:cNvGrpSpPr>
            <a:grpSpLocks noChangeAspect="1"/>
          </p:cNvGrpSpPr>
          <p:nvPr/>
        </p:nvGrpSpPr>
        <p:grpSpPr>
          <a:xfrm>
            <a:off x="346156" y="1976237"/>
            <a:ext cx="11933636" cy="5803697"/>
            <a:chOff x="395288" y="1901766"/>
            <a:chExt cx="8353424" cy="4062529"/>
          </a:xfrm>
          <a:solidFill>
            <a:schemeClr val="bg1">
              <a:lumMod val="85000"/>
            </a:schemeClr>
          </a:solidFill>
        </p:grpSpPr>
        <p:sp>
          <p:nvSpPr>
            <p:cNvPr id="5" name="Freeform 3">
              <a:extLst>
                <a:ext uri="{FF2B5EF4-FFF2-40B4-BE49-F238E27FC236}">
                  <a16:creationId xmlns:a16="http://schemas.microsoft.com/office/drawing/2014/main" id="{D664893C-5A2D-7546-A7F5-C47C685E046D}"/>
                </a:ext>
              </a:extLst>
            </p:cNvPr>
            <p:cNvSpPr>
              <a:spLocks noChangeAspect="1"/>
            </p:cNvSpPr>
            <p:nvPr>
              <p:custDataLst>
                <p:tags r:id="rId9"/>
              </p:custDataLst>
            </p:nvPr>
          </p:nvSpPr>
          <p:spPr>
            <a:xfrm>
              <a:off x="2666062" y="5039910"/>
              <a:ext cx="456739" cy="912706"/>
            </a:xfrm>
            <a:custGeom>
              <a:avLst/>
              <a:gdLst/>
              <a:ahLst/>
              <a:cxnLst/>
              <a:rect l="l" t="t" r="r" b="b"/>
              <a:pathLst>
                <a:path w="456739" h="912706">
                  <a:moveTo>
                    <a:pt x="110368" y="829995"/>
                  </a:moveTo>
                  <a:lnTo>
                    <a:pt x="119232" y="844463"/>
                  </a:lnTo>
                  <a:lnTo>
                    <a:pt x="130773" y="868050"/>
                  </a:lnTo>
                  <a:lnTo>
                    <a:pt x="160781" y="887087"/>
                  </a:lnTo>
                  <a:lnTo>
                    <a:pt x="193096" y="895063"/>
                  </a:lnTo>
                  <a:lnTo>
                    <a:pt x="182709" y="911097"/>
                  </a:lnTo>
                  <a:lnTo>
                    <a:pt x="160781" y="912706"/>
                  </a:lnTo>
                  <a:lnTo>
                    <a:pt x="149010" y="901361"/>
                  </a:lnTo>
                  <a:lnTo>
                    <a:pt x="135102" y="900503"/>
                  </a:lnTo>
                  <a:lnTo>
                    <a:pt x="110383" y="900486"/>
                  </a:lnTo>
                  <a:close/>
                  <a:moveTo>
                    <a:pt x="164858" y="0"/>
                  </a:moveTo>
                  <a:lnTo>
                    <a:pt x="195061" y="5897"/>
                  </a:lnTo>
                  <a:lnTo>
                    <a:pt x="208631" y="23421"/>
                  </a:lnTo>
                  <a:lnTo>
                    <a:pt x="217637" y="3905"/>
                  </a:lnTo>
                  <a:lnTo>
                    <a:pt x="243960" y="4906"/>
                  </a:lnTo>
                  <a:lnTo>
                    <a:pt x="247686" y="10093"/>
                  </a:lnTo>
                  <a:lnTo>
                    <a:pt x="290123" y="49799"/>
                  </a:lnTo>
                  <a:lnTo>
                    <a:pt x="308995" y="53516"/>
                  </a:lnTo>
                  <a:lnTo>
                    <a:pt x="337198" y="71606"/>
                  </a:lnTo>
                  <a:lnTo>
                    <a:pt x="360972" y="81206"/>
                  </a:lnTo>
                  <a:lnTo>
                    <a:pt x="364285" y="92068"/>
                  </a:lnTo>
                  <a:lnTo>
                    <a:pt x="341560" y="129675"/>
                  </a:lnTo>
                  <a:lnTo>
                    <a:pt x="364837" y="136442"/>
                  </a:lnTo>
                  <a:lnTo>
                    <a:pt x="390760" y="140240"/>
                  </a:lnTo>
                  <a:lnTo>
                    <a:pt x="409015" y="136241"/>
                  </a:lnTo>
                  <a:lnTo>
                    <a:pt x="429953" y="117223"/>
                  </a:lnTo>
                  <a:lnTo>
                    <a:pt x="433727" y="95410"/>
                  </a:lnTo>
                  <a:lnTo>
                    <a:pt x="445158" y="90688"/>
                  </a:lnTo>
                  <a:lnTo>
                    <a:pt x="456739" y="104928"/>
                  </a:lnTo>
                  <a:lnTo>
                    <a:pt x="456268" y="124703"/>
                  </a:lnTo>
                  <a:lnTo>
                    <a:pt x="436833" y="138405"/>
                  </a:lnTo>
                  <a:lnTo>
                    <a:pt x="421331" y="148551"/>
                  </a:lnTo>
                  <a:lnTo>
                    <a:pt x="395280" y="172842"/>
                  </a:lnTo>
                  <a:lnTo>
                    <a:pt x="364482" y="207196"/>
                  </a:lnTo>
                  <a:lnTo>
                    <a:pt x="358716" y="227495"/>
                  </a:lnTo>
                  <a:lnTo>
                    <a:pt x="352541" y="253724"/>
                  </a:lnTo>
                  <a:lnTo>
                    <a:pt x="352767" y="279313"/>
                  </a:lnTo>
                  <a:lnTo>
                    <a:pt x="347759" y="285056"/>
                  </a:lnTo>
                  <a:lnTo>
                    <a:pt x="345971" y="301779"/>
                  </a:lnTo>
                  <a:lnTo>
                    <a:pt x="344393" y="315344"/>
                  </a:lnTo>
                  <a:lnTo>
                    <a:pt x="373699" y="337713"/>
                  </a:lnTo>
                  <a:lnTo>
                    <a:pt x="370548" y="355821"/>
                  </a:lnTo>
                  <a:lnTo>
                    <a:pt x="384972" y="367316"/>
                  </a:lnTo>
                  <a:lnTo>
                    <a:pt x="383799" y="380248"/>
                  </a:lnTo>
                  <a:lnTo>
                    <a:pt x="361619" y="414438"/>
                  </a:lnTo>
                  <a:lnTo>
                    <a:pt x="327395" y="428845"/>
                  </a:lnTo>
                  <a:lnTo>
                    <a:pt x="281100" y="434456"/>
                  </a:lnTo>
                  <a:lnTo>
                    <a:pt x="255744" y="431741"/>
                  </a:lnTo>
                  <a:lnTo>
                    <a:pt x="260596" y="447852"/>
                  </a:lnTo>
                  <a:lnTo>
                    <a:pt x="255869" y="468189"/>
                  </a:lnTo>
                  <a:lnTo>
                    <a:pt x="260129" y="481967"/>
                  </a:lnTo>
                  <a:lnTo>
                    <a:pt x="246283" y="491617"/>
                  </a:lnTo>
                  <a:lnTo>
                    <a:pt x="222631" y="495411"/>
                  </a:lnTo>
                  <a:lnTo>
                    <a:pt x="200435" y="485413"/>
                  </a:lnTo>
                  <a:lnTo>
                    <a:pt x="191526" y="492594"/>
                  </a:lnTo>
                  <a:lnTo>
                    <a:pt x="194745" y="520021"/>
                  </a:lnTo>
                  <a:lnTo>
                    <a:pt x="210330" y="528379"/>
                  </a:lnTo>
                  <a:lnTo>
                    <a:pt x="222967" y="519624"/>
                  </a:lnTo>
                  <a:lnTo>
                    <a:pt x="229843" y="534060"/>
                  </a:lnTo>
                  <a:lnTo>
                    <a:pt x="208589" y="542721"/>
                  </a:lnTo>
                  <a:lnTo>
                    <a:pt x="190054" y="560148"/>
                  </a:lnTo>
                  <a:lnTo>
                    <a:pt x="186660" y="588565"/>
                  </a:lnTo>
                  <a:lnTo>
                    <a:pt x="181203" y="603806"/>
                  </a:lnTo>
                  <a:lnTo>
                    <a:pt x="159397" y="603887"/>
                  </a:lnTo>
                  <a:lnTo>
                    <a:pt x="141304" y="618547"/>
                  </a:lnTo>
                  <a:lnTo>
                    <a:pt x="134685" y="640147"/>
                  </a:lnTo>
                  <a:lnTo>
                    <a:pt x="157386" y="661402"/>
                  </a:lnTo>
                  <a:lnTo>
                    <a:pt x="179454" y="667302"/>
                  </a:lnTo>
                  <a:lnTo>
                    <a:pt x="171512" y="693635"/>
                  </a:lnTo>
                  <a:lnTo>
                    <a:pt x="144249" y="710326"/>
                  </a:lnTo>
                  <a:lnTo>
                    <a:pt x="129248" y="745359"/>
                  </a:lnTo>
                  <a:lnTo>
                    <a:pt x="108181" y="757257"/>
                  </a:lnTo>
                  <a:lnTo>
                    <a:pt x="98722" y="771452"/>
                  </a:lnTo>
                  <a:lnTo>
                    <a:pt x="106177" y="803218"/>
                  </a:lnTo>
                  <a:lnTo>
                    <a:pt x="121540" y="821100"/>
                  </a:lnTo>
                  <a:lnTo>
                    <a:pt x="111810" y="819534"/>
                  </a:lnTo>
                  <a:lnTo>
                    <a:pt x="90416" y="814684"/>
                  </a:lnTo>
                  <a:lnTo>
                    <a:pt x="34638" y="810552"/>
                  </a:lnTo>
                  <a:lnTo>
                    <a:pt x="25068" y="792617"/>
                  </a:lnTo>
                  <a:lnTo>
                    <a:pt x="25517" y="769765"/>
                  </a:lnTo>
                  <a:lnTo>
                    <a:pt x="10149" y="771723"/>
                  </a:lnTo>
                  <a:lnTo>
                    <a:pt x="2017" y="760723"/>
                  </a:lnTo>
                  <a:lnTo>
                    <a:pt x="0" y="728828"/>
                  </a:lnTo>
                  <a:lnTo>
                    <a:pt x="17708" y="715713"/>
                  </a:lnTo>
                  <a:lnTo>
                    <a:pt x="25028" y="696910"/>
                  </a:lnTo>
                  <a:lnTo>
                    <a:pt x="22346" y="682017"/>
                  </a:lnTo>
                  <a:lnTo>
                    <a:pt x="34582" y="657061"/>
                  </a:lnTo>
                  <a:lnTo>
                    <a:pt x="43013" y="618800"/>
                  </a:lnTo>
                  <a:lnTo>
                    <a:pt x="40536" y="602005"/>
                  </a:lnTo>
                  <a:lnTo>
                    <a:pt x="50612" y="596607"/>
                  </a:lnTo>
                  <a:lnTo>
                    <a:pt x="48142" y="585902"/>
                  </a:lnTo>
                  <a:lnTo>
                    <a:pt x="37435" y="580225"/>
                  </a:lnTo>
                  <a:lnTo>
                    <a:pt x="45043" y="568374"/>
                  </a:lnTo>
                  <a:lnTo>
                    <a:pt x="34624" y="557708"/>
                  </a:lnTo>
                  <a:lnTo>
                    <a:pt x="29235" y="525485"/>
                  </a:lnTo>
                  <a:lnTo>
                    <a:pt x="38516" y="519837"/>
                  </a:lnTo>
                  <a:lnTo>
                    <a:pt x="34617" y="486226"/>
                  </a:lnTo>
                  <a:lnTo>
                    <a:pt x="40041" y="458271"/>
                  </a:lnTo>
                  <a:lnTo>
                    <a:pt x="46209" y="434121"/>
                  </a:lnTo>
                  <a:lnTo>
                    <a:pt x="60032" y="424346"/>
                  </a:lnTo>
                  <a:lnTo>
                    <a:pt x="53016" y="398208"/>
                  </a:lnTo>
                  <a:lnTo>
                    <a:pt x="52941" y="373796"/>
                  </a:lnTo>
                  <a:lnTo>
                    <a:pt x="70417" y="356551"/>
                  </a:lnTo>
                  <a:lnTo>
                    <a:pt x="69880" y="334614"/>
                  </a:lnTo>
                  <a:lnTo>
                    <a:pt x="83054" y="309155"/>
                  </a:lnTo>
                  <a:lnTo>
                    <a:pt x="83113" y="285332"/>
                  </a:lnTo>
                  <a:lnTo>
                    <a:pt x="77120" y="280619"/>
                  </a:lnTo>
                  <a:lnTo>
                    <a:pt x="66486" y="236367"/>
                  </a:lnTo>
                  <a:lnTo>
                    <a:pt x="80707" y="210235"/>
                  </a:lnTo>
                  <a:lnTo>
                    <a:pt x="78524" y="185788"/>
                  </a:lnTo>
                  <a:lnTo>
                    <a:pt x="86775" y="162977"/>
                  </a:lnTo>
                  <a:lnTo>
                    <a:pt x="101891" y="139561"/>
                  </a:lnTo>
                  <a:lnTo>
                    <a:pt x="118181" y="124104"/>
                  </a:lnTo>
                  <a:lnTo>
                    <a:pt x="111273" y="114378"/>
                  </a:lnTo>
                  <a:lnTo>
                    <a:pt x="116093" y="106415"/>
                  </a:lnTo>
                  <a:lnTo>
                    <a:pt x="115362" y="65405"/>
                  </a:lnTo>
                  <a:lnTo>
                    <a:pt x="140504" y="53333"/>
                  </a:lnTo>
                  <a:lnTo>
                    <a:pt x="148426" y="27998"/>
                  </a:lnTo>
                  <a:lnTo>
                    <a:pt x="145623" y="2191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6" name="Freeform 4">
              <a:extLst>
                <a:ext uri="{FF2B5EF4-FFF2-40B4-BE49-F238E27FC236}">
                  <a16:creationId xmlns:a16="http://schemas.microsoft.com/office/drawing/2014/main" id="{05345040-FC1F-254C-BF36-1211075F7B9A}"/>
                </a:ext>
              </a:extLst>
            </p:cNvPr>
            <p:cNvSpPr>
              <a:spLocks noChangeAspect="1"/>
            </p:cNvSpPr>
            <p:nvPr>
              <p:custDataLst>
                <p:tags r:id="rId10"/>
              </p:custDataLst>
            </p:nvPr>
          </p:nvSpPr>
          <p:spPr>
            <a:xfrm>
              <a:off x="2537617" y="3888436"/>
              <a:ext cx="45703" cy="81965"/>
            </a:xfrm>
            <a:custGeom>
              <a:avLst/>
              <a:gdLst/>
              <a:ahLst/>
              <a:cxnLst/>
              <a:rect l="l" t="t" r="r" b="b"/>
              <a:pathLst>
                <a:path w="45703" h="81965">
                  <a:moveTo>
                    <a:pt x="18215" y="45210"/>
                  </a:moveTo>
                  <a:lnTo>
                    <a:pt x="25160" y="46201"/>
                  </a:lnTo>
                  <a:lnTo>
                    <a:pt x="33239" y="66564"/>
                  </a:lnTo>
                  <a:lnTo>
                    <a:pt x="33362" y="80750"/>
                  </a:lnTo>
                  <a:lnTo>
                    <a:pt x="27699" y="81965"/>
                  </a:lnTo>
                  <a:lnTo>
                    <a:pt x="21835" y="67882"/>
                  </a:lnTo>
                  <a:lnTo>
                    <a:pt x="13192" y="60792"/>
                  </a:lnTo>
                  <a:close/>
                  <a:moveTo>
                    <a:pt x="10849" y="4219"/>
                  </a:moveTo>
                  <a:lnTo>
                    <a:pt x="26083" y="4963"/>
                  </a:lnTo>
                  <a:lnTo>
                    <a:pt x="26776" y="11407"/>
                  </a:lnTo>
                  <a:lnTo>
                    <a:pt x="1615" y="15369"/>
                  </a:lnTo>
                  <a:lnTo>
                    <a:pt x="0" y="6203"/>
                  </a:lnTo>
                  <a:close/>
                  <a:moveTo>
                    <a:pt x="27468" y="0"/>
                  </a:moveTo>
                  <a:lnTo>
                    <a:pt x="45703" y="11160"/>
                  </a:lnTo>
                  <a:lnTo>
                    <a:pt x="41721" y="28733"/>
                  </a:lnTo>
                  <a:lnTo>
                    <a:pt x="37477" y="25570"/>
                  </a:lnTo>
                  <a:lnTo>
                    <a:pt x="37855" y="12646"/>
                  </a:lnTo>
                  <a:lnTo>
                    <a:pt x="27514" y="285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7" name="Freeform 5">
              <a:extLst>
                <a:ext uri="{FF2B5EF4-FFF2-40B4-BE49-F238E27FC236}">
                  <a16:creationId xmlns:a16="http://schemas.microsoft.com/office/drawing/2014/main" id="{F8D92360-B1FE-8743-9A19-EF7CB3664A4A}"/>
                </a:ext>
              </a:extLst>
            </p:cNvPr>
            <p:cNvSpPr>
              <a:spLocks noChangeAspect="1"/>
            </p:cNvSpPr>
            <p:nvPr>
              <p:custDataLst>
                <p:tags r:id="rId11"/>
              </p:custDataLst>
            </p:nvPr>
          </p:nvSpPr>
          <p:spPr>
            <a:xfrm>
              <a:off x="2301040" y="4096112"/>
              <a:ext cx="25907" cy="62101"/>
            </a:xfrm>
            <a:custGeom>
              <a:avLst/>
              <a:gdLst/>
              <a:ahLst/>
              <a:cxnLst/>
              <a:rect l="0" t="0" r="0" b="0"/>
              <a:pathLst>
                <a:path w="25907" h="62101">
                  <a:moveTo>
                    <a:pt x="1986" y="16492"/>
                  </a:moveTo>
                  <a:lnTo>
                    <a:pt x="1805" y="12987"/>
                  </a:lnTo>
                  <a:lnTo>
                    <a:pt x="4599" y="11890"/>
                  </a:lnTo>
                  <a:lnTo>
                    <a:pt x="8789" y="14709"/>
                  </a:lnTo>
                  <a:lnTo>
                    <a:pt x="17058" y="314"/>
                  </a:lnTo>
                  <a:lnTo>
                    <a:pt x="21445" y="0"/>
                  </a:lnTo>
                  <a:lnTo>
                    <a:pt x="21531" y="3502"/>
                  </a:lnTo>
                  <a:lnTo>
                    <a:pt x="25906" y="3611"/>
                  </a:lnTo>
                  <a:lnTo>
                    <a:pt x="25521" y="10099"/>
                  </a:lnTo>
                  <a:lnTo>
                    <a:pt x="21784" y="20401"/>
                  </a:lnTo>
                  <a:lnTo>
                    <a:pt x="23804" y="24081"/>
                  </a:lnTo>
                  <a:lnTo>
                    <a:pt x="21385" y="32587"/>
                  </a:lnTo>
                  <a:lnTo>
                    <a:pt x="22842" y="34859"/>
                  </a:lnTo>
                  <a:lnTo>
                    <a:pt x="20167" y="46850"/>
                  </a:lnTo>
                  <a:lnTo>
                    <a:pt x="15633" y="53138"/>
                  </a:lnTo>
                  <a:lnTo>
                    <a:pt x="11464" y="53892"/>
                  </a:lnTo>
                  <a:lnTo>
                    <a:pt x="6890" y="62093"/>
                  </a:lnTo>
                  <a:lnTo>
                    <a:pt x="0" y="62100"/>
                  </a:lnTo>
                  <a:lnTo>
                    <a:pt x="1807" y="3534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8" name="Freeform 6">
              <a:extLst>
                <a:ext uri="{FF2B5EF4-FFF2-40B4-BE49-F238E27FC236}">
                  <a16:creationId xmlns:a16="http://schemas.microsoft.com/office/drawing/2014/main" id="{B5EFB176-788D-7941-9497-529627E3B6FA}"/>
                </a:ext>
              </a:extLst>
            </p:cNvPr>
            <p:cNvSpPr>
              <a:spLocks noChangeAspect="1"/>
            </p:cNvSpPr>
            <p:nvPr>
              <p:custDataLst>
                <p:tags r:id="rId12"/>
              </p:custDataLst>
            </p:nvPr>
          </p:nvSpPr>
          <p:spPr>
            <a:xfrm>
              <a:off x="2754353" y="4754004"/>
              <a:ext cx="279118" cy="311147"/>
            </a:xfrm>
            <a:custGeom>
              <a:avLst/>
              <a:gdLst/>
              <a:ahLst/>
              <a:cxnLst/>
              <a:rect l="0" t="0" r="0" b="0"/>
              <a:pathLst>
                <a:path w="279118" h="311147">
                  <a:moveTo>
                    <a:pt x="155669" y="290812"/>
                  </a:moveTo>
                  <a:lnTo>
                    <a:pt x="129346" y="289811"/>
                  </a:lnTo>
                  <a:lnTo>
                    <a:pt x="120340" y="309327"/>
                  </a:lnTo>
                  <a:lnTo>
                    <a:pt x="106770" y="291803"/>
                  </a:lnTo>
                  <a:lnTo>
                    <a:pt x="76567" y="285906"/>
                  </a:lnTo>
                  <a:lnTo>
                    <a:pt x="57332" y="307816"/>
                  </a:lnTo>
                  <a:lnTo>
                    <a:pt x="40678" y="311146"/>
                  </a:lnTo>
                  <a:lnTo>
                    <a:pt x="31635" y="277734"/>
                  </a:lnTo>
                  <a:lnTo>
                    <a:pt x="19234" y="250695"/>
                  </a:lnTo>
                  <a:lnTo>
                    <a:pt x="26504" y="227471"/>
                  </a:lnTo>
                  <a:lnTo>
                    <a:pt x="14395" y="217336"/>
                  </a:lnTo>
                  <a:lnTo>
                    <a:pt x="11315" y="200101"/>
                  </a:lnTo>
                  <a:lnTo>
                    <a:pt x="0" y="183898"/>
                  </a:lnTo>
                  <a:lnTo>
                    <a:pt x="14561" y="158262"/>
                  </a:lnTo>
                  <a:lnTo>
                    <a:pt x="4632" y="138360"/>
                  </a:lnTo>
                  <a:lnTo>
                    <a:pt x="9928" y="130415"/>
                  </a:lnTo>
                  <a:lnTo>
                    <a:pt x="5792" y="121662"/>
                  </a:lnTo>
                  <a:lnTo>
                    <a:pt x="14809" y="109883"/>
                  </a:lnTo>
                  <a:lnTo>
                    <a:pt x="15262" y="89858"/>
                  </a:lnTo>
                  <a:lnTo>
                    <a:pt x="16397" y="73350"/>
                  </a:lnTo>
                  <a:lnTo>
                    <a:pt x="21360" y="65413"/>
                  </a:lnTo>
                  <a:lnTo>
                    <a:pt x="1402" y="27753"/>
                  </a:lnTo>
                  <a:lnTo>
                    <a:pt x="18565" y="29730"/>
                  </a:lnTo>
                  <a:lnTo>
                    <a:pt x="30450" y="29220"/>
                  </a:lnTo>
                  <a:lnTo>
                    <a:pt x="35599" y="22157"/>
                  </a:lnTo>
                  <a:lnTo>
                    <a:pt x="55782" y="12701"/>
                  </a:lnTo>
                  <a:lnTo>
                    <a:pt x="67944" y="3947"/>
                  </a:lnTo>
                  <a:lnTo>
                    <a:pt x="98148" y="0"/>
                  </a:lnTo>
                  <a:lnTo>
                    <a:pt x="95691" y="17475"/>
                  </a:lnTo>
                  <a:lnTo>
                    <a:pt x="98529" y="26448"/>
                  </a:lnTo>
                  <a:lnTo>
                    <a:pt x="96674" y="42115"/>
                  </a:lnTo>
                  <a:lnTo>
                    <a:pt x="121740" y="63085"/>
                  </a:lnTo>
                  <a:lnTo>
                    <a:pt x="147589" y="66954"/>
                  </a:lnTo>
                  <a:lnTo>
                    <a:pt x="156671" y="75718"/>
                  </a:lnTo>
                  <a:lnTo>
                    <a:pt x="172274" y="80369"/>
                  </a:lnTo>
                  <a:lnTo>
                    <a:pt x="181828" y="87191"/>
                  </a:lnTo>
                  <a:lnTo>
                    <a:pt x="196348" y="86960"/>
                  </a:lnTo>
                  <a:lnTo>
                    <a:pt x="209755" y="93931"/>
                  </a:lnTo>
                  <a:lnTo>
                    <a:pt x="210773" y="107536"/>
                  </a:lnTo>
                  <a:lnTo>
                    <a:pt x="215272" y="114416"/>
                  </a:lnTo>
                  <a:lnTo>
                    <a:pt x="215576" y="124589"/>
                  </a:lnTo>
                  <a:lnTo>
                    <a:pt x="208840" y="124983"/>
                  </a:lnTo>
                  <a:lnTo>
                    <a:pt x="217717" y="152517"/>
                  </a:lnTo>
                  <a:lnTo>
                    <a:pt x="261970" y="153495"/>
                  </a:lnTo>
                  <a:lnTo>
                    <a:pt x="258581" y="167192"/>
                  </a:lnTo>
                  <a:lnTo>
                    <a:pt x="261057" y="176565"/>
                  </a:lnTo>
                  <a:lnTo>
                    <a:pt x="273665" y="183242"/>
                  </a:lnTo>
                  <a:lnTo>
                    <a:pt x="279117" y="198051"/>
                  </a:lnTo>
                  <a:lnTo>
                    <a:pt x="275017" y="216862"/>
                  </a:lnTo>
                  <a:lnTo>
                    <a:pt x="268693" y="227349"/>
                  </a:lnTo>
                  <a:lnTo>
                    <a:pt x="270913" y="241019"/>
                  </a:lnTo>
                  <a:lnTo>
                    <a:pt x="263697" y="245985"/>
                  </a:lnTo>
                  <a:lnTo>
                    <a:pt x="263303" y="238581"/>
                  </a:lnTo>
                  <a:lnTo>
                    <a:pt x="241800" y="226317"/>
                  </a:lnTo>
                  <a:lnTo>
                    <a:pt x="220367" y="225978"/>
                  </a:lnTo>
                  <a:lnTo>
                    <a:pt x="180140" y="232951"/>
                  </a:lnTo>
                  <a:lnTo>
                    <a:pt x="169069" y="254089"/>
                  </a:lnTo>
                  <a:lnTo>
                    <a:pt x="168486" y="267047"/>
                  </a:lnTo>
                  <a:lnTo>
                    <a:pt x="159395" y="29599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9" name="Freeform 7">
              <a:extLst>
                <a:ext uri="{FF2B5EF4-FFF2-40B4-BE49-F238E27FC236}">
                  <a16:creationId xmlns:a16="http://schemas.microsoft.com/office/drawing/2014/main" id="{B3B0F3CB-1B56-B847-A2C3-FE86BCBF53B3}"/>
                </a:ext>
              </a:extLst>
            </p:cNvPr>
            <p:cNvSpPr>
              <a:spLocks noChangeAspect="1"/>
            </p:cNvSpPr>
            <p:nvPr>
              <p:custDataLst>
                <p:tags r:id="rId13"/>
              </p:custDataLst>
            </p:nvPr>
          </p:nvSpPr>
          <p:spPr>
            <a:xfrm>
              <a:off x="2652863" y="4406805"/>
              <a:ext cx="906163" cy="931228"/>
            </a:xfrm>
            <a:custGeom>
              <a:avLst/>
              <a:gdLst/>
              <a:ahLst/>
              <a:cxnLst/>
              <a:rect l="0" t="0" r="0" b="0"/>
              <a:pathLst>
                <a:path w="906163" h="931228">
                  <a:moveTo>
                    <a:pt x="377681" y="840301"/>
                  </a:moveTo>
                  <a:lnTo>
                    <a:pt x="408479" y="805947"/>
                  </a:lnTo>
                  <a:lnTo>
                    <a:pt x="434530" y="781656"/>
                  </a:lnTo>
                  <a:lnTo>
                    <a:pt x="450032" y="771510"/>
                  </a:lnTo>
                  <a:lnTo>
                    <a:pt x="469467" y="757808"/>
                  </a:lnTo>
                  <a:lnTo>
                    <a:pt x="469938" y="738033"/>
                  </a:lnTo>
                  <a:lnTo>
                    <a:pt x="458357" y="723793"/>
                  </a:lnTo>
                  <a:lnTo>
                    <a:pt x="446926" y="728515"/>
                  </a:lnTo>
                  <a:lnTo>
                    <a:pt x="451458" y="714307"/>
                  </a:lnTo>
                  <a:lnTo>
                    <a:pt x="454585" y="699790"/>
                  </a:lnTo>
                  <a:lnTo>
                    <a:pt x="454597" y="686333"/>
                  </a:lnTo>
                  <a:lnTo>
                    <a:pt x="446290" y="681900"/>
                  </a:lnTo>
                  <a:lnTo>
                    <a:pt x="437632" y="685850"/>
                  </a:lnTo>
                  <a:lnTo>
                    <a:pt x="429026" y="684766"/>
                  </a:lnTo>
                  <a:lnTo>
                    <a:pt x="426328" y="675369"/>
                  </a:lnTo>
                  <a:lnTo>
                    <a:pt x="424180" y="653064"/>
                  </a:lnTo>
                  <a:lnTo>
                    <a:pt x="419857" y="645815"/>
                  </a:lnTo>
                  <a:lnTo>
                    <a:pt x="404268" y="639254"/>
                  </a:lnTo>
                  <a:lnTo>
                    <a:pt x="394846" y="644001"/>
                  </a:lnTo>
                  <a:lnTo>
                    <a:pt x="370479" y="639349"/>
                  </a:lnTo>
                  <a:lnTo>
                    <a:pt x="372013" y="606559"/>
                  </a:lnTo>
                  <a:lnTo>
                    <a:pt x="365187" y="593184"/>
                  </a:lnTo>
                  <a:lnTo>
                    <a:pt x="372403" y="588218"/>
                  </a:lnTo>
                  <a:lnTo>
                    <a:pt x="370183" y="574548"/>
                  </a:lnTo>
                  <a:lnTo>
                    <a:pt x="376507" y="564061"/>
                  </a:lnTo>
                  <a:lnTo>
                    <a:pt x="380607" y="545250"/>
                  </a:lnTo>
                  <a:lnTo>
                    <a:pt x="375155" y="530441"/>
                  </a:lnTo>
                  <a:lnTo>
                    <a:pt x="362547" y="523764"/>
                  </a:lnTo>
                  <a:lnTo>
                    <a:pt x="360071" y="514391"/>
                  </a:lnTo>
                  <a:lnTo>
                    <a:pt x="363460" y="500694"/>
                  </a:lnTo>
                  <a:lnTo>
                    <a:pt x="319207" y="499716"/>
                  </a:lnTo>
                  <a:lnTo>
                    <a:pt x="310330" y="472182"/>
                  </a:lnTo>
                  <a:lnTo>
                    <a:pt x="317066" y="471788"/>
                  </a:lnTo>
                  <a:lnTo>
                    <a:pt x="316762" y="461615"/>
                  </a:lnTo>
                  <a:lnTo>
                    <a:pt x="312263" y="454735"/>
                  </a:lnTo>
                  <a:lnTo>
                    <a:pt x="311245" y="441130"/>
                  </a:lnTo>
                  <a:lnTo>
                    <a:pt x="297838" y="434159"/>
                  </a:lnTo>
                  <a:lnTo>
                    <a:pt x="283318" y="434390"/>
                  </a:lnTo>
                  <a:lnTo>
                    <a:pt x="273764" y="427568"/>
                  </a:lnTo>
                  <a:lnTo>
                    <a:pt x="258161" y="422917"/>
                  </a:lnTo>
                  <a:lnTo>
                    <a:pt x="249079" y="414153"/>
                  </a:lnTo>
                  <a:lnTo>
                    <a:pt x="223230" y="410284"/>
                  </a:lnTo>
                  <a:lnTo>
                    <a:pt x="198164" y="389314"/>
                  </a:lnTo>
                  <a:lnTo>
                    <a:pt x="200019" y="373647"/>
                  </a:lnTo>
                  <a:lnTo>
                    <a:pt x="197181" y="364674"/>
                  </a:lnTo>
                  <a:lnTo>
                    <a:pt x="199638" y="347199"/>
                  </a:lnTo>
                  <a:lnTo>
                    <a:pt x="169434" y="351146"/>
                  </a:lnTo>
                  <a:lnTo>
                    <a:pt x="157272" y="359900"/>
                  </a:lnTo>
                  <a:lnTo>
                    <a:pt x="137089" y="369356"/>
                  </a:lnTo>
                  <a:lnTo>
                    <a:pt x="131940" y="376419"/>
                  </a:lnTo>
                  <a:lnTo>
                    <a:pt x="120055" y="376929"/>
                  </a:lnTo>
                  <a:lnTo>
                    <a:pt x="102892" y="374952"/>
                  </a:lnTo>
                  <a:lnTo>
                    <a:pt x="89872" y="378975"/>
                  </a:lnTo>
                  <a:lnTo>
                    <a:pt x="79371" y="376293"/>
                  </a:lnTo>
                  <a:lnTo>
                    <a:pt x="80913" y="340867"/>
                  </a:lnTo>
                  <a:lnTo>
                    <a:pt x="61973" y="354598"/>
                  </a:lnTo>
                  <a:lnTo>
                    <a:pt x="41603" y="353995"/>
                  </a:lnTo>
                  <a:lnTo>
                    <a:pt x="32874" y="341567"/>
                  </a:lnTo>
                  <a:lnTo>
                    <a:pt x="17555" y="340217"/>
                  </a:lnTo>
                  <a:lnTo>
                    <a:pt x="22433" y="330223"/>
                  </a:lnTo>
                  <a:lnTo>
                    <a:pt x="9606" y="316075"/>
                  </a:lnTo>
                  <a:lnTo>
                    <a:pt x="0" y="295156"/>
                  </a:lnTo>
                  <a:lnTo>
                    <a:pt x="6090" y="290913"/>
                  </a:lnTo>
                  <a:lnTo>
                    <a:pt x="6065" y="281114"/>
                  </a:lnTo>
                  <a:lnTo>
                    <a:pt x="20018" y="274421"/>
                  </a:lnTo>
                  <a:lnTo>
                    <a:pt x="17717" y="261890"/>
                  </a:lnTo>
                  <a:lnTo>
                    <a:pt x="23607" y="253831"/>
                  </a:lnTo>
                  <a:lnTo>
                    <a:pt x="25283" y="243027"/>
                  </a:lnTo>
                  <a:lnTo>
                    <a:pt x="51678" y="227280"/>
                  </a:lnTo>
                  <a:lnTo>
                    <a:pt x="70596" y="222830"/>
                  </a:lnTo>
                  <a:lnTo>
                    <a:pt x="73691" y="219354"/>
                  </a:lnTo>
                  <a:lnTo>
                    <a:pt x="94491" y="220439"/>
                  </a:lnTo>
                  <a:lnTo>
                    <a:pt x="104868" y="157092"/>
                  </a:lnTo>
                  <a:lnTo>
                    <a:pt x="105413" y="147080"/>
                  </a:lnTo>
                  <a:lnTo>
                    <a:pt x="101799" y="133861"/>
                  </a:lnTo>
                  <a:lnTo>
                    <a:pt x="91559" y="125440"/>
                  </a:lnTo>
                  <a:lnTo>
                    <a:pt x="91677" y="108668"/>
                  </a:lnTo>
                  <a:lnTo>
                    <a:pt x="104676" y="104865"/>
                  </a:lnTo>
                  <a:lnTo>
                    <a:pt x="109292" y="107255"/>
                  </a:lnTo>
                  <a:lnTo>
                    <a:pt x="110072" y="98413"/>
                  </a:lnTo>
                  <a:lnTo>
                    <a:pt x="96547" y="96026"/>
                  </a:lnTo>
                  <a:lnTo>
                    <a:pt x="96261" y="81580"/>
                  </a:lnTo>
                  <a:lnTo>
                    <a:pt x="141235" y="82095"/>
                  </a:lnTo>
                  <a:lnTo>
                    <a:pt x="148870" y="74136"/>
                  </a:lnTo>
                  <a:lnTo>
                    <a:pt x="155283" y="81459"/>
                  </a:lnTo>
                  <a:lnTo>
                    <a:pt x="159783" y="95078"/>
                  </a:lnTo>
                  <a:lnTo>
                    <a:pt x="164139" y="92233"/>
                  </a:lnTo>
                  <a:lnTo>
                    <a:pt x="176847" y="104443"/>
                  </a:lnTo>
                  <a:lnTo>
                    <a:pt x="194794" y="102947"/>
                  </a:lnTo>
                  <a:lnTo>
                    <a:pt x="199262" y="95883"/>
                  </a:lnTo>
                  <a:lnTo>
                    <a:pt x="216428" y="90493"/>
                  </a:lnTo>
                  <a:lnTo>
                    <a:pt x="225932" y="86704"/>
                  </a:lnTo>
                  <a:lnTo>
                    <a:pt x="228614" y="76925"/>
                  </a:lnTo>
                  <a:lnTo>
                    <a:pt x="245102" y="70355"/>
                  </a:lnTo>
                  <a:lnTo>
                    <a:pt x="243854" y="65501"/>
                  </a:lnTo>
                  <a:lnTo>
                    <a:pt x="224300" y="63516"/>
                  </a:lnTo>
                  <a:lnTo>
                    <a:pt x="221095" y="48968"/>
                  </a:lnTo>
                  <a:lnTo>
                    <a:pt x="222026" y="33475"/>
                  </a:lnTo>
                  <a:lnTo>
                    <a:pt x="211695" y="27482"/>
                  </a:lnTo>
                  <a:lnTo>
                    <a:pt x="216021" y="25354"/>
                  </a:lnTo>
                  <a:lnTo>
                    <a:pt x="233109" y="28312"/>
                  </a:lnTo>
                  <a:lnTo>
                    <a:pt x="251464" y="34091"/>
                  </a:lnTo>
                  <a:lnTo>
                    <a:pt x="258127" y="28626"/>
                  </a:lnTo>
                  <a:lnTo>
                    <a:pt x="274726" y="25038"/>
                  </a:lnTo>
                  <a:lnTo>
                    <a:pt x="300545" y="16382"/>
                  </a:lnTo>
                  <a:lnTo>
                    <a:pt x="308986" y="7553"/>
                  </a:lnTo>
                  <a:lnTo>
                    <a:pt x="305930" y="1024"/>
                  </a:lnTo>
                  <a:lnTo>
                    <a:pt x="317930" y="0"/>
                  </a:lnTo>
                  <a:lnTo>
                    <a:pt x="323302" y="5333"/>
                  </a:lnTo>
                  <a:lnTo>
                    <a:pt x="320301" y="15491"/>
                  </a:lnTo>
                  <a:lnTo>
                    <a:pt x="328232" y="18994"/>
                  </a:lnTo>
                  <a:lnTo>
                    <a:pt x="333526" y="29739"/>
                  </a:lnTo>
                  <a:lnTo>
                    <a:pt x="327124" y="37883"/>
                  </a:lnTo>
                  <a:lnTo>
                    <a:pt x="323451" y="57552"/>
                  </a:lnTo>
                  <a:lnTo>
                    <a:pt x="329360" y="69230"/>
                  </a:lnTo>
                  <a:lnTo>
                    <a:pt x="331033" y="79915"/>
                  </a:lnTo>
                  <a:lnTo>
                    <a:pt x="345233" y="90748"/>
                  </a:lnTo>
                  <a:lnTo>
                    <a:pt x="356563" y="91893"/>
                  </a:lnTo>
                  <a:lnTo>
                    <a:pt x="359115" y="87371"/>
                  </a:lnTo>
                  <a:lnTo>
                    <a:pt x="366409" y="86373"/>
                  </a:lnTo>
                  <a:lnTo>
                    <a:pt x="376854" y="82323"/>
                  </a:lnTo>
                  <a:lnTo>
                    <a:pt x="384359" y="76183"/>
                  </a:lnTo>
                  <a:lnTo>
                    <a:pt x="397127" y="78141"/>
                  </a:lnTo>
                  <a:lnTo>
                    <a:pt x="402743" y="77314"/>
                  </a:lnTo>
                  <a:lnTo>
                    <a:pt x="415293" y="79205"/>
                  </a:lnTo>
                  <a:lnTo>
                    <a:pt x="417373" y="74486"/>
                  </a:lnTo>
                  <a:lnTo>
                    <a:pt x="413501" y="69895"/>
                  </a:lnTo>
                  <a:lnTo>
                    <a:pt x="415809" y="63208"/>
                  </a:lnTo>
                  <a:lnTo>
                    <a:pt x="425125" y="65260"/>
                  </a:lnTo>
                  <a:lnTo>
                    <a:pt x="436024" y="62899"/>
                  </a:lnTo>
                  <a:lnTo>
                    <a:pt x="449246" y="67793"/>
                  </a:lnTo>
                  <a:lnTo>
                    <a:pt x="459326" y="72557"/>
                  </a:lnTo>
                  <a:lnTo>
                    <a:pt x="466471" y="66295"/>
                  </a:lnTo>
                  <a:lnTo>
                    <a:pt x="471634" y="67260"/>
                  </a:lnTo>
                  <a:lnTo>
                    <a:pt x="474782" y="73761"/>
                  </a:lnTo>
                  <a:lnTo>
                    <a:pt x="485835" y="72111"/>
                  </a:lnTo>
                  <a:lnTo>
                    <a:pt x="494681" y="63338"/>
                  </a:lnTo>
                  <a:lnTo>
                    <a:pt x="501769" y="46327"/>
                  </a:lnTo>
                  <a:lnTo>
                    <a:pt x="515423" y="25175"/>
                  </a:lnTo>
                  <a:lnTo>
                    <a:pt x="523286" y="24082"/>
                  </a:lnTo>
                  <a:lnTo>
                    <a:pt x="528996" y="36868"/>
                  </a:lnTo>
                  <a:lnTo>
                    <a:pt x="541943" y="77267"/>
                  </a:lnTo>
                  <a:lnTo>
                    <a:pt x="554288" y="81079"/>
                  </a:lnTo>
                  <a:lnTo>
                    <a:pt x="554911" y="97016"/>
                  </a:lnTo>
                  <a:lnTo>
                    <a:pt x="537549" y="116019"/>
                  </a:lnTo>
                  <a:lnTo>
                    <a:pt x="544729" y="122976"/>
                  </a:lnTo>
                  <a:lnTo>
                    <a:pt x="585531" y="126601"/>
                  </a:lnTo>
                  <a:lnTo>
                    <a:pt x="586363" y="149739"/>
                  </a:lnTo>
                  <a:lnTo>
                    <a:pt x="603896" y="134591"/>
                  </a:lnTo>
                  <a:lnTo>
                    <a:pt x="632942" y="142888"/>
                  </a:lnTo>
                  <a:lnTo>
                    <a:pt x="671280" y="156987"/>
                  </a:lnTo>
                  <a:lnTo>
                    <a:pt x="682546" y="170518"/>
                  </a:lnTo>
                  <a:lnTo>
                    <a:pt x="678761" y="183303"/>
                  </a:lnTo>
                  <a:lnTo>
                    <a:pt x="705601" y="176184"/>
                  </a:lnTo>
                  <a:lnTo>
                    <a:pt x="750523" y="188401"/>
                  </a:lnTo>
                  <a:lnTo>
                    <a:pt x="785009" y="187501"/>
                  </a:lnTo>
                  <a:lnTo>
                    <a:pt x="819132" y="206625"/>
                  </a:lnTo>
                  <a:lnTo>
                    <a:pt x="848611" y="232530"/>
                  </a:lnTo>
                  <a:lnTo>
                    <a:pt x="866392" y="239204"/>
                  </a:lnTo>
                  <a:lnTo>
                    <a:pt x="886131" y="240133"/>
                  </a:lnTo>
                  <a:lnTo>
                    <a:pt x="894496" y="247433"/>
                  </a:lnTo>
                  <a:lnTo>
                    <a:pt x="902330" y="276931"/>
                  </a:lnTo>
                  <a:lnTo>
                    <a:pt x="906162" y="290964"/>
                  </a:lnTo>
                  <a:lnTo>
                    <a:pt x="896970" y="329375"/>
                  </a:lnTo>
                  <a:lnTo>
                    <a:pt x="885227" y="344574"/>
                  </a:lnTo>
                  <a:lnTo>
                    <a:pt x="852691" y="377031"/>
                  </a:lnTo>
                  <a:lnTo>
                    <a:pt x="837985" y="403472"/>
                  </a:lnTo>
                  <a:lnTo>
                    <a:pt x="820897" y="423797"/>
                  </a:lnTo>
                  <a:lnTo>
                    <a:pt x="815126" y="424255"/>
                  </a:lnTo>
                  <a:lnTo>
                    <a:pt x="808678" y="441540"/>
                  </a:lnTo>
                  <a:lnTo>
                    <a:pt x="810316" y="485722"/>
                  </a:lnTo>
                  <a:lnTo>
                    <a:pt x="803881" y="522260"/>
                  </a:lnTo>
                  <a:lnTo>
                    <a:pt x="801428" y="537947"/>
                  </a:lnTo>
                  <a:lnTo>
                    <a:pt x="794130" y="547352"/>
                  </a:lnTo>
                  <a:lnTo>
                    <a:pt x="790037" y="579320"/>
                  </a:lnTo>
                  <a:lnTo>
                    <a:pt x="766633" y="610699"/>
                  </a:lnTo>
                  <a:lnTo>
                    <a:pt x="762709" y="635647"/>
                  </a:lnTo>
                  <a:lnTo>
                    <a:pt x="744026" y="646148"/>
                  </a:lnTo>
                  <a:lnTo>
                    <a:pt x="738621" y="660707"/>
                  </a:lnTo>
                  <a:lnTo>
                    <a:pt x="713544" y="660649"/>
                  </a:lnTo>
                  <a:lnTo>
                    <a:pt x="677233" y="670004"/>
                  </a:lnTo>
                  <a:lnTo>
                    <a:pt x="660975" y="680856"/>
                  </a:lnTo>
                  <a:lnTo>
                    <a:pt x="635123" y="687994"/>
                  </a:lnTo>
                  <a:lnTo>
                    <a:pt x="607958" y="707503"/>
                  </a:lnTo>
                  <a:lnTo>
                    <a:pt x="588419" y="731914"/>
                  </a:lnTo>
                  <a:lnTo>
                    <a:pt x="585059" y="750375"/>
                  </a:lnTo>
                  <a:lnTo>
                    <a:pt x="588897" y="764077"/>
                  </a:lnTo>
                  <a:lnTo>
                    <a:pt x="584585" y="789253"/>
                  </a:lnTo>
                  <a:lnTo>
                    <a:pt x="579347" y="801467"/>
                  </a:lnTo>
                  <a:lnTo>
                    <a:pt x="563215" y="815284"/>
                  </a:lnTo>
                  <a:lnTo>
                    <a:pt x="537604" y="859784"/>
                  </a:lnTo>
                  <a:lnTo>
                    <a:pt x="517306" y="880004"/>
                  </a:lnTo>
                  <a:lnTo>
                    <a:pt x="501613" y="891975"/>
                  </a:lnTo>
                  <a:lnTo>
                    <a:pt x="491087" y="916442"/>
                  </a:lnTo>
                  <a:lnTo>
                    <a:pt x="475817" y="931227"/>
                  </a:lnTo>
                  <a:lnTo>
                    <a:pt x="469425" y="916582"/>
                  </a:lnTo>
                  <a:lnTo>
                    <a:pt x="479604" y="904361"/>
                  </a:lnTo>
                  <a:lnTo>
                    <a:pt x="466254" y="886899"/>
                  </a:lnTo>
                  <a:lnTo>
                    <a:pt x="448145" y="872774"/>
                  </a:lnTo>
                  <a:lnTo>
                    <a:pt x="424392" y="856466"/>
                  </a:lnTo>
                  <a:lnTo>
                    <a:pt x="415811" y="857207"/>
                  </a:lnTo>
                  <a:lnTo>
                    <a:pt x="392664" y="83760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0" name="Freeform 8">
              <a:extLst>
                <a:ext uri="{FF2B5EF4-FFF2-40B4-BE49-F238E27FC236}">
                  <a16:creationId xmlns:a16="http://schemas.microsoft.com/office/drawing/2014/main" id="{EAE63008-403E-304B-8E2A-077CCEADA985}"/>
                </a:ext>
              </a:extLst>
            </p:cNvPr>
            <p:cNvSpPr>
              <a:spLocks noChangeAspect="1"/>
            </p:cNvSpPr>
            <p:nvPr>
              <p:custDataLst>
                <p:tags r:id="rId14"/>
              </p:custDataLst>
            </p:nvPr>
          </p:nvSpPr>
          <p:spPr>
            <a:xfrm>
              <a:off x="1106080" y="1925853"/>
              <a:ext cx="2039347" cy="1580755"/>
            </a:xfrm>
            <a:custGeom>
              <a:avLst/>
              <a:gdLst/>
              <a:ahLst/>
              <a:cxnLst/>
              <a:rect l="l" t="t" r="r" b="b"/>
              <a:pathLst>
                <a:path w="2039347" h="1580755">
                  <a:moveTo>
                    <a:pt x="1776972" y="1428715"/>
                  </a:moveTo>
                  <a:lnTo>
                    <a:pt x="1785059" y="1442843"/>
                  </a:lnTo>
                  <a:lnTo>
                    <a:pt x="1801799" y="1446730"/>
                  </a:lnTo>
                  <a:lnTo>
                    <a:pt x="1823202" y="1445940"/>
                  </a:lnTo>
                  <a:lnTo>
                    <a:pt x="1811849" y="1457781"/>
                  </a:lnTo>
                  <a:lnTo>
                    <a:pt x="1803299" y="1459661"/>
                  </a:lnTo>
                  <a:lnTo>
                    <a:pt x="1774019" y="1447402"/>
                  </a:lnTo>
                  <a:lnTo>
                    <a:pt x="1768253" y="1437693"/>
                  </a:lnTo>
                  <a:close/>
                  <a:moveTo>
                    <a:pt x="1773317" y="1342184"/>
                  </a:moveTo>
                  <a:lnTo>
                    <a:pt x="1803669" y="1349726"/>
                  </a:lnTo>
                  <a:lnTo>
                    <a:pt x="1827276" y="1362244"/>
                  </a:lnTo>
                  <a:lnTo>
                    <a:pt x="1827952" y="1367722"/>
                  </a:lnTo>
                  <a:lnTo>
                    <a:pt x="1816713" y="1368255"/>
                  </a:lnTo>
                  <a:lnTo>
                    <a:pt x="1786796" y="1358890"/>
                  </a:lnTo>
                  <a:lnTo>
                    <a:pt x="1765333" y="1344717"/>
                  </a:lnTo>
                  <a:close/>
                  <a:moveTo>
                    <a:pt x="291751" y="1317567"/>
                  </a:moveTo>
                  <a:lnTo>
                    <a:pt x="315984" y="1324190"/>
                  </a:lnTo>
                  <a:lnTo>
                    <a:pt x="330147" y="1328786"/>
                  </a:lnTo>
                  <a:lnTo>
                    <a:pt x="351844" y="1331990"/>
                  </a:lnTo>
                  <a:lnTo>
                    <a:pt x="359693" y="1342401"/>
                  </a:lnTo>
                  <a:lnTo>
                    <a:pt x="371101" y="1356657"/>
                  </a:lnTo>
                  <a:lnTo>
                    <a:pt x="394143" y="1368991"/>
                  </a:lnTo>
                  <a:lnTo>
                    <a:pt x="403665" y="1385407"/>
                  </a:lnTo>
                  <a:lnTo>
                    <a:pt x="392057" y="1389526"/>
                  </a:lnTo>
                  <a:lnTo>
                    <a:pt x="354152" y="1376060"/>
                  </a:lnTo>
                  <a:lnTo>
                    <a:pt x="347228" y="1365486"/>
                  </a:lnTo>
                  <a:lnTo>
                    <a:pt x="326569" y="1355018"/>
                  </a:lnTo>
                  <a:lnTo>
                    <a:pt x="322414" y="1346463"/>
                  </a:lnTo>
                  <a:lnTo>
                    <a:pt x="298654" y="1341046"/>
                  </a:lnTo>
                  <a:lnTo>
                    <a:pt x="289762" y="1324597"/>
                  </a:lnTo>
                  <a:close/>
                  <a:moveTo>
                    <a:pt x="1964955" y="1291235"/>
                  </a:moveTo>
                  <a:lnTo>
                    <a:pt x="1975665" y="1292581"/>
                  </a:lnTo>
                  <a:lnTo>
                    <a:pt x="1971205" y="1300896"/>
                  </a:lnTo>
                  <a:lnTo>
                    <a:pt x="1958883" y="1320109"/>
                  </a:lnTo>
                  <a:lnTo>
                    <a:pt x="1943606" y="1346544"/>
                  </a:lnTo>
                  <a:lnTo>
                    <a:pt x="1958673" y="1336367"/>
                  </a:lnTo>
                  <a:lnTo>
                    <a:pt x="1974176" y="1342828"/>
                  </a:lnTo>
                  <a:lnTo>
                    <a:pt x="1966076" y="1353305"/>
                  </a:lnTo>
                  <a:lnTo>
                    <a:pt x="1986556" y="1361513"/>
                  </a:lnTo>
                  <a:lnTo>
                    <a:pt x="1997206" y="1354218"/>
                  </a:lnTo>
                  <a:lnTo>
                    <a:pt x="2020225" y="1363421"/>
                  </a:lnTo>
                  <a:lnTo>
                    <a:pt x="2013081" y="1385207"/>
                  </a:lnTo>
                  <a:lnTo>
                    <a:pt x="2029236" y="1380135"/>
                  </a:lnTo>
                  <a:lnTo>
                    <a:pt x="2032179" y="1395838"/>
                  </a:lnTo>
                  <a:lnTo>
                    <a:pt x="2039347" y="1414116"/>
                  </a:lnTo>
                  <a:lnTo>
                    <a:pt x="2029628" y="1439783"/>
                  </a:lnTo>
                  <a:lnTo>
                    <a:pt x="2019188" y="1440862"/>
                  </a:lnTo>
                  <a:lnTo>
                    <a:pt x="2004012" y="1435379"/>
                  </a:lnTo>
                  <a:lnTo>
                    <a:pt x="2009022" y="1411488"/>
                  </a:lnTo>
                  <a:lnTo>
                    <a:pt x="2002591" y="1407758"/>
                  </a:lnTo>
                  <a:lnTo>
                    <a:pt x="1975808" y="1433113"/>
                  </a:lnTo>
                  <a:lnTo>
                    <a:pt x="1962035" y="1432102"/>
                  </a:lnTo>
                  <a:lnTo>
                    <a:pt x="1978337" y="1418391"/>
                  </a:lnTo>
                  <a:lnTo>
                    <a:pt x="1956188" y="1411272"/>
                  </a:lnTo>
                  <a:lnTo>
                    <a:pt x="1931387" y="1413024"/>
                  </a:lnTo>
                  <a:lnTo>
                    <a:pt x="1886588" y="1412129"/>
                  </a:lnTo>
                  <a:lnTo>
                    <a:pt x="1883045" y="1403431"/>
                  </a:lnTo>
                  <a:lnTo>
                    <a:pt x="1897424" y="1393053"/>
                  </a:lnTo>
                  <a:lnTo>
                    <a:pt x="1887382" y="1385017"/>
                  </a:lnTo>
                  <a:lnTo>
                    <a:pt x="1906767" y="1367110"/>
                  </a:lnTo>
                  <a:lnTo>
                    <a:pt x="1930614" y="1319159"/>
                  </a:lnTo>
                  <a:lnTo>
                    <a:pt x="1944927" y="1301803"/>
                  </a:lnTo>
                  <a:close/>
                  <a:moveTo>
                    <a:pt x="180455" y="1211995"/>
                  </a:moveTo>
                  <a:lnTo>
                    <a:pt x="191304" y="1216116"/>
                  </a:lnTo>
                  <a:lnTo>
                    <a:pt x="213464" y="1213580"/>
                  </a:lnTo>
                  <a:lnTo>
                    <a:pt x="206551" y="1249324"/>
                  </a:lnTo>
                  <a:lnTo>
                    <a:pt x="226643" y="1274329"/>
                  </a:lnTo>
                  <a:lnTo>
                    <a:pt x="217438" y="1274269"/>
                  </a:lnTo>
                  <a:lnTo>
                    <a:pt x="203528" y="1260079"/>
                  </a:lnTo>
                  <a:lnTo>
                    <a:pt x="194998" y="1245715"/>
                  </a:lnTo>
                  <a:lnTo>
                    <a:pt x="183350" y="1235947"/>
                  </a:lnTo>
                  <a:lnTo>
                    <a:pt x="179078" y="1222094"/>
                  </a:lnTo>
                  <a:close/>
                  <a:moveTo>
                    <a:pt x="1409622" y="935386"/>
                  </a:moveTo>
                  <a:lnTo>
                    <a:pt x="1419072" y="936170"/>
                  </a:lnTo>
                  <a:lnTo>
                    <a:pt x="1424939" y="943504"/>
                  </a:lnTo>
                  <a:lnTo>
                    <a:pt x="1415898" y="962191"/>
                  </a:lnTo>
                  <a:lnTo>
                    <a:pt x="1405694" y="959179"/>
                  </a:lnTo>
                  <a:lnTo>
                    <a:pt x="1399633" y="948575"/>
                  </a:lnTo>
                  <a:lnTo>
                    <a:pt x="1400712" y="946113"/>
                  </a:lnTo>
                  <a:close/>
                  <a:moveTo>
                    <a:pt x="1332963" y="916360"/>
                  </a:moveTo>
                  <a:lnTo>
                    <a:pt x="1364666" y="916704"/>
                  </a:lnTo>
                  <a:lnTo>
                    <a:pt x="1364176" y="923698"/>
                  </a:lnTo>
                  <a:lnTo>
                    <a:pt x="1337161" y="943484"/>
                  </a:lnTo>
                  <a:lnTo>
                    <a:pt x="1320864" y="942660"/>
                  </a:lnTo>
                  <a:lnTo>
                    <a:pt x="1315808" y="932976"/>
                  </a:lnTo>
                  <a:close/>
                  <a:moveTo>
                    <a:pt x="1272177" y="811682"/>
                  </a:moveTo>
                  <a:lnTo>
                    <a:pt x="1288856" y="814776"/>
                  </a:lnTo>
                  <a:lnTo>
                    <a:pt x="1293138" y="831394"/>
                  </a:lnTo>
                  <a:lnTo>
                    <a:pt x="1304951" y="825580"/>
                  </a:lnTo>
                  <a:lnTo>
                    <a:pt x="1318371" y="835452"/>
                  </a:lnTo>
                  <a:lnTo>
                    <a:pt x="1343648" y="848295"/>
                  </a:lnTo>
                  <a:lnTo>
                    <a:pt x="1370090" y="859895"/>
                  </a:lnTo>
                  <a:lnTo>
                    <a:pt x="1372135" y="877479"/>
                  </a:lnTo>
                  <a:lnTo>
                    <a:pt x="1389125" y="874610"/>
                  </a:lnTo>
                  <a:lnTo>
                    <a:pt x="1405604" y="886799"/>
                  </a:lnTo>
                  <a:lnTo>
                    <a:pt x="1385117" y="898307"/>
                  </a:lnTo>
                  <a:lnTo>
                    <a:pt x="1349197" y="889520"/>
                  </a:lnTo>
                  <a:lnTo>
                    <a:pt x="1336233" y="872972"/>
                  </a:lnTo>
                  <a:lnTo>
                    <a:pt x="1313344" y="892520"/>
                  </a:lnTo>
                  <a:lnTo>
                    <a:pt x="1280497" y="911353"/>
                  </a:lnTo>
                  <a:lnTo>
                    <a:pt x="1272572" y="890049"/>
                  </a:lnTo>
                  <a:lnTo>
                    <a:pt x="1241290" y="893561"/>
                  </a:lnTo>
                  <a:lnTo>
                    <a:pt x="1261354" y="875408"/>
                  </a:lnTo>
                  <a:lnTo>
                    <a:pt x="1264306" y="846195"/>
                  </a:lnTo>
                  <a:close/>
                  <a:moveTo>
                    <a:pt x="1502742" y="712505"/>
                  </a:moveTo>
                  <a:lnTo>
                    <a:pt x="1520763" y="723515"/>
                  </a:lnTo>
                  <a:lnTo>
                    <a:pt x="1521020" y="740432"/>
                  </a:lnTo>
                  <a:lnTo>
                    <a:pt x="1518420" y="745844"/>
                  </a:lnTo>
                  <a:lnTo>
                    <a:pt x="1503419" y="757399"/>
                  </a:lnTo>
                  <a:lnTo>
                    <a:pt x="1477544" y="759354"/>
                  </a:lnTo>
                  <a:lnTo>
                    <a:pt x="1471784" y="740194"/>
                  </a:lnTo>
                  <a:lnTo>
                    <a:pt x="1481588" y="718026"/>
                  </a:lnTo>
                  <a:close/>
                  <a:moveTo>
                    <a:pt x="987466" y="637088"/>
                  </a:moveTo>
                  <a:lnTo>
                    <a:pt x="1011954" y="648791"/>
                  </a:lnTo>
                  <a:lnTo>
                    <a:pt x="1025803" y="656186"/>
                  </a:lnTo>
                  <a:lnTo>
                    <a:pt x="1032728" y="663962"/>
                  </a:lnTo>
                  <a:lnTo>
                    <a:pt x="1046802" y="679520"/>
                  </a:lnTo>
                  <a:lnTo>
                    <a:pt x="1032448" y="693683"/>
                  </a:lnTo>
                  <a:lnTo>
                    <a:pt x="1001336" y="681451"/>
                  </a:lnTo>
                  <a:lnTo>
                    <a:pt x="982537" y="685873"/>
                  </a:lnTo>
                  <a:lnTo>
                    <a:pt x="951015" y="667635"/>
                  </a:lnTo>
                  <a:lnTo>
                    <a:pt x="971328" y="654955"/>
                  </a:lnTo>
                  <a:close/>
                  <a:moveTo>
                    <a:pt x="1056933" y="562116"/>
                  </a:moveTo>
                  <a:lnTo>
                    <a:pt x="1087375" y="569001"/>
                  </a:lnTo>
                  <a:lnTo>
                    <a:pt x="1110729" y="587828"/>
                  </a:lnTo>
                  <a:lnTo>
                    <a:pt x="1142088" y="635110"/>
                  </a:lnTo>
                  <a:lnTo>
                    <a:pt x="1121607" y="655368"/>
                  </a:lnTo>
                  <a:lnTo>
                    <a:pt x="1164537" y="663651"/>
                  </a:lnTo>
                  <a:lnTo>
                    <a:pt x="1164435" y="705003"/>
                  </a:lnTo>
                  <a:lnTo>
                    <a:pt x="1195282" y="673388"/>
                  </a:lnTo>
                  <a:lnTo>
                    <a:pt x="1222877" y="699388"/>
                  </a:lnTo>
                  <a:lnTo>
                    <a:pt x="1216002" y="728940"/>
                  </a:lnTo>
                  <a:lnTo>
                    <a:pt x="1238331" y="755453"/>
                  </a:lnTo>
                  <a:lnTo>
                    <a:pt x="1262431" y="727037"/>
                  </a:lnTo>
                  <a:lnTo>
                    <a:pt x="1279269" y="692575"/>
                  </a:lnTo>
                  <a:lnTo>
                    <a:pt x="1280531" y="647882"/>
                  </a:lnTo>
                  <a:lnTo>
                    <a:pt x="1313335" y="651039"/>
                  </a:lnTo>
                  <a:lnTo>
                    <a:pt x="1347456" y="657079"/>
                  </a:lnTo>
                  <a:lnTo>
                    <a:pt x="1378437" y="677316"/>
                  </a:lnTo>
                  <a:lnTo>
                    <a:pt x="1379827" y="697357"/>
                  </a:lnTo>
                  <a:lnTo>
                    <a:pt x="1362650" y="718664"/>
                  </a:lnTo>
                  <a:lnTo>
                    <a:pt x="1378925" y="739837"/>
                  </a:lnTo>
                  <a:lnTo>
                    <a:pt x="1375988" y="758884"/>
                  </a:lnTo>
                  <a:lnTo>
                    <a:pt x="1330791" y="785961"/>
                  </a:lnTo>
                  <a:lnTo>
                    <a:pt x="1298686" y="791886"/>
                  </a:lnTo>
                  <a:lnTo>
                    <a:pt x="1274818" y="780306"/>
                  </a:lnTo>
                  <a:lnTo>
                    <a:pt x="1267936" y="799584"/>
                  </a:lnTo>
                  <a:lnTo>
                    <a:pt x="1245688" y="831566"/>
                  </a:lnTo>
                  <a:lnTo>
                    <a:pt x="1238952" y="847961"/>
                  </a:lnTo>
                  <a:lnTo>
                    <a:pt x="1212183" y="873079"/>
                  </a:lnTo>
                  <a:lnTo>
                    <a:pt x="1179141" y="875522"/>
                  </a:lnTo>
                  <a:lnTo>
                    <a:pt x="1160916" y="891041"/>
                  </a:lnTo>
                  <a:lnTo>
                    <a:pt x="1159391" y="914692"/>
                  </a:lnTo>
                  <a:lnTo>
                    <a:pt x="1132537" y="919215"/>
                  </a:lnTo>
                  <a:lnTo>
                    <a:pt x="1104294" y="948283"/>
                  </a:lnTo>
                  <a:lnTo>
                    <a:pt x="1079260" y="988038"/>
                  </a:lnTo>
                  <a:lnTo>
                    <a:pt x="1070309" y="1015452"/>
                  </a:lnTo>
                  <a:lnTo>
                    <a:pt x="1069032" y="1055228"/>
                  </a:lnTo>
                  <a:lnTo>
                    <a:pt x="1102954" y="1060880"/>
                  </a:lnTo>
                  <a:lnTo>
                    <a:pt x="1113351" y="1092369"/>
                  </a:lnTo>
                  <a:lnTo>
                    <a:pt x="1124144" y="1117565"/>
                  </a:lnTo>
                  <a:lnTo>
                    <a:pt x="1156445" y="1111029"/>
                  </a:lnTo>
                  <a:lnTo>
                    <a:pt x="1199336" y="1125327"/>
                  </a:lnTo>
                  <a:lnTo>
                    <a:pt x="1222413" y="1137807"/>
                  </a:lnTo>
                  <a:lnTo>
                    <a:pt x="1238930" y="1153228"/>
                  </a:lnTo>
                  <a:lnTo>
                    <a:pt x="1267853" y="1162166"/>
                  </a:lnTo>
                  <a:lnTo>
                    <a:pt x="1292306" y="1175778"/>
                  </a:lnTo>
                  <a:lnTo>
                    <a:pt x="1330422" y="1177637"/>
                  </a:lnTo>
                  <a:lnTo>
                    <a:pt x="1355529" y="1180744"/>
                  </a:lnTo>
                  <a:lnTo>
                    <a:pt x="1351758" y="1208429"/>
                  </a:lnTo>
                  <a:lnTo>
                    <a:pt x="1358941" y="1240168"/>
                  </a:lnTo>
                  <a:lnTo>
                    <a:pt x="1375659" y="1275026"/>
                  </a:lnTo>
                  <a:lnTo>
                    <a:pt x="1410003" y="1304220"/>
                  </a:lnTo>
                  <a:lnTo>
                    <a:pt x="1427774" y="1294250"/>
                  </a:lnTo>
                  <a:lnTo>
                    <a:pt x="1440264" y="1262494"/>
                  </a:lnTo>
                  <a:lnTo>
                    <a:pt x="1428208" y="1212900"/>
                  </a:lnTo>
                  <a:lnTo>
                    <a:pt x="1411926" y="1196146"/>
                  </a:lnTo>
                  <a:lnTo>
                    <a:pt x="1448878" y="1181125"/>
                  </a:lnTo>
                  <a:lnTo>
                    <a:pt x="1475034" y="1158483"/>
                  </a:lnTo>
                  <a:lnTo>
                    <a:pt x="1487827" y="1135756"/>
                  </a:lnTo>
                  <a:lnTo>
                    <a:pt x="1485938" y="1113746"/>
                  </a:lnTo>
                  <a:lnTo>
                    <a:pt x="1470263" y="1085467"/>
                  </a:lnTo>
                  <a:lnTo>
                    <a:pt x="1442227" y="1060120"/>
                  </a:lnTo>
                  <a:lnTo>
                    <a:pt x="1469467" y="1024336"/>
                  </a:lnTo>
                  <a:lnTo>
                    <a:pt x="1459404" y="992958"/>
                  </a:lnTo>
                  <a:lnTo>
                    <a:pt x="1451691" y="937749"/>
                  </a:lnTo>
                  <a:lnTo>
                    <a:pt x="1467761" y="929466"/>
                  </a:lnTo>
                  <a:lnTo>
                    <a:pt x="1507335" y="939225"/>
                  </a:lnTo>
                  <a:lnTo>
                    <a:pt x="1531065" y="942703"/>
                  </a:lnTo>
                  <a:lnTo>
                    <a:pt x="1550184" y="933299"/>
                  </a:lnTo>
                  <a:lnTo>
                    <a:pt x="1571682" y="945417"/>
                  </a:lnTo>
                  <a:lnTo>
                    <a:pt x="1600108" y="966002"/>
                  </a:lnTo>
                  <a:lnTo>
                    <a:pt x="1607111" y="979677"/>
                  </a:lnTo>
                  <a:lnTo>
                    <a:pt x="1648273" y="982337"/>
                  </a:lnTo>
                  <a:lnTo>
                    <a:pt x="1647583" y="1011612"/>
                  </a:lnTo>
                  <a:lnTo>
                    <a:pt x="1655256" y="1054939"/>
                  </a:lnTo>
                  <a:lnTo>
                    <a:pt x="1676339" y="1060239"/>
                  </a:lnTo>
                  <a:lnTo>
                    <a:pt x="1693069" y="1080102"/>
                  </a:lnTo>
                  <a:lnTo>
                    <a:pt x="1726492" y="1061382"/>
                  </a:lnTo>
                  <a:lnTo>
                    <a:pt x="1748573" y="1023713"/>
                  </a:lnTo>
                  <a:lnTo>
                    <a:pt x="1763846" y="1007651"/>
                  </a:lnTo>
                  <a:lnTo>
                    <a:pt x="1781822" y="1038403"/>
                  </a:lnTo>
                  <a:lnTo>
                    <a:pt x="1811885" y="1081611"/>
                  </a:lnTo>
                  <a:lnTo>
                    <a:pt x="1837410" y="1121514"/>
                  </a:lnTo>
                  <a:lnTo>
                    <a:pt x="1828128" y="1142131"/>
                  </a:lnTo>
                  <a:lnTo>
                    <a:pt x="1858831" y="1160492"/>
                  </a:lnTo>
                  <a:lnTo>
                    <a:pt x="1879580" y="1178950"/>
                  </a:lnTo>
                  <a:lnTo>
                    <a:pt x="1916386" y="1187256"/>
                  </a:lnTo>
                  <a:lnTo>
                    <a:pt x="1931203" y="1197463"/>
                  </a:lnTo>
                  <a:lnTo>
                    <a:pt x="1940351" y="1224329"/>
                  </a:lnTo>
                  <a:lnTo>
                    <a:pt x="1958327" y="1228520"/>
                  </a:lnTo>
                  <a:lnTo>
                    <a:pt x="1967601" y="1240378"/>
                  </a:lnTo>
                  <a:lnTo>
                    <a:pt x="1969285" y="1275374"/>
                  </a:lnTo>
                  <a:lnTo>
                    <a:pt x="1952532" y="1286973"/>
                  </a:lnTo>
                  <a:lnTo>
                    <a:pt x="1935965" y="1297752"/>
                  </a:lnTo>
                  <a:lnTo>
                    <a:pt x="1897926" y="1308622"/>
                  </a:lnTo>
                  <a:lnTo>
                    <a:pt x="1868882" y="1333569"/>
                  </a:lnTo>
                  <a:lnTo>
                    <a:pt x="1829859" y="1338469"/>
                  </a:lnTo>
                  <a:lnTo>
                    <a:pt x="1780489" y="1332111"/>
                  </a:lnTo>
                  <a:lnTo>
                    <a:pt x="1745846" y="1331893"/>
                  </a:lnTo>
                  <a:lnTo>
                    <a:pt x="1721939" y="1333986"/>
                  </a:lnTo>
                  <a:lnTo>
                    <a:pt x="1702613" y="1355570"/>
                  </a:lnTo>
                  <a:lnTo>
                    <a:pt x="1673186" y="1368816"/>
                  </a:lnTo>
                  <a:lnTo>
                    <a:pt x="1639890" y="1407975"/>
                  </a:lnTo>
                  <a:lnTo>
                    <a:pt x="1613322" y="1434954"/>
                  </a:lnTo>
                  <a:lnTo>
                    <a:pt x="1632928" y="1430170"/>
                  </a:lnTo>
                  <a:lnTo>
                    <a:pt x="1669981" y="1391621"/>
                  </a:lnTo>
                  <a:lnTo>
                    <a:pt x="1718398" y="1366885"/>
                  </a:lnTo>
                  <a:lnTo>
                    <a:pt x="1752934" y="1363910"/>
                  </a:lnTo>
                  <a:lnTo>
                    <a:pt x="1773368" y="1378512"/>
                  </a:lnTo>
                  <a:lnTo>
                    <a:pt x="1751568" y="1398384"/>
                  </a:lnTo>
                  <a:lnTo>
                    <a:pt x="1758883" y="1429969"/>
                  </a:lnTo>
                  <a:lnTo>
                    <a:pt x="1766416" y="1451860"/>
                  </a:lnTo>
                  <a:lnTo>
                    <a:pt x="1796398" y="1466257"/>
                  </a:lnTo>
                  <a:lnTo>
                    <a:pt x="1834544" y="1462093"/>
                  </a:lnTo>
                  <a:lnTo>
                    <a:pt x="1857686" y="1429533"/>
                  </a:lnTo>
                  <a:lnTo>
                    <a:pt x="1859291" y="1450584"/>
                  </a:lnTo>
                  <a:lnTo>
                    <a:pt x="1874196" y="1461038"/>
                  </a:lnTo>
                  <a:lnTo>
                    <a:pt x="1845643" y="1479844"/>
                  </a:lnTo>
                  <a:lnTo>
                    <a:pt x="1794519" y="1496818"/>
                  </a:lnTo>
                  <a:lnTo>
                    <a:pt x="1771624" y="1508301"/>
                  </a:lnTo>
                  <a:lnTo>
                    <a:pt x="1745829" y="1528629"/>
                  </a:lnTo>
                  <a:lnTo>
                    <a:pt x="1728301" y="1526563"/>
                  </a:lnTo>
                  <a:lnTo>
                    <a:pt x="1727417" y="1502642"/>
                  </a:lnTo>
                  <a:lnTo>
                    <a:pt x="1767494" y="1479078"/>
                  </a:lnTo>
                  <a:lnTo>
                    <a:pt x="1730549" y="1480014"/>
                  </a:lnTo>
                  <a:lnTo>
                    <a:pt x="1704895" y="1483495"/>
                  </a:lnTo>
                  <a:lnTo>
                    <a:pt x="1689801" y="1467298"/>
                  </a:lnTo>
                  <a:lnTo>
                    <a:pt x="1689821" y="1427830"/>
                  </a:lnTo>
                  <a:lnTo>
                    <a:pt x="1679573" y="1419406"/>
                  </a:lnTo>
                  <a:lnTo>
                    <a:pt x="1664095" y="1424369"/>
                  </a:lnTo>
                  <a:lnTo>
                    <a:pt x="1656426" y="1416687"/>
                  </a:lnTo>
                  <a:lnTo>
                    <a:pt x="1638820" y="1438692"/>
                  </a:lnTo>
                  <a:lnTo>
                    <a:pt x="1631779" y="1461193"/>
                  </a:lnTo>
                  <a:lnTo>
                    <a:pt x="1623585" y="1474267"/>
                  </a:lnTo>
                  <a:lnTo>
                    <a:pt x="1613778" y="1478700"/>
                  </a:lnTo>
                  <a:lnTo>
                    <a:pt x="1606388" y="1480137"/>
                  </a:lnTo>
                  <a:lnTo>
                    <a:pt x="1604078" y="1487188"/>
                  </a:lnTo>
                  <a:lnTo>
                    <a:pt x="1561542" y="1487212"/>
                  </a:lnTo>
                  <a:lnTo>
                    <a:pt x="1526476" y="1487408"/>
                  </a:lnTo>
                  <a:lnTo>
                    <a:pt x="1516061" y="1492655"/>
                  </a:lnTo>
                  <a:lnTo>
                    <a:pt x="1491667" y="1513089"/>
                  </a:lnTo>
                  <a:lnTo>
                    <a:pt x="1488782" y="1515290"/>
                  </a:lnTo>
                  <a:lnTo>
                    <a:pt x="1481394" y="1526278"/>
                  </a:lnTo>
                  <a:lnTo>
                    <a:pt x="1460208" y="1526271"/>
                  </a:lnTo>
                  <a:lnTo>
                    <a:pt x="1437532" y="1526382"/>
                  </a:lnTo>
                  <a:lnTo>
                    <a:pt x="1427112" y="1530847"/>
                  </a:lnTo>
                  <a:lnTo>
                    <a:pt x="1430844" y="1536359"/>
                  </a:lnTo>
                  <a:lnTo>
                    <a:pt x="1432922" y="1544901"/>
                  </a:lnTo>
                  <a:lnTo>
                    <a:pt x="1432475" y="1547735"/>
                  </a:lnTo>
                  <a:lnTo>
                    <a:pt x="1402281" y="1561599"/>
                  </a:lnTo>
                  <a:lnTo>
                    <a:pt x="1378499" y="1565967"/>
                  </a:lnTo>
                  <a:lnTo>
                    <a:pt x="1351687" y="1580755"/>
                  </a:lnTo>
                  <a:lnTo>
                    <a:pt x="1345898" y="1580755"/>
                  </a:lnTo>
                  <a:lnTo>
                    <a:pt x="1338056" y="1576395"/>
                  </a:lnTo>
                  <a:lnTo>
                    <a:pt x="1335467" y="1572439"/>
                  </a:lnTo>
                  <a:lnTo>
                    <a:pt x="1335974" y="1569547"/>
                  </a:lnTo>
                  <a:lnTo>
                    <a:pt x="1341053" y="1559825"/>
                  </a:lnTo>
                  <a:lnTo>
                    <a:pt x="1351901" y="1544481"/>
                  </a:lnTo>
                  <a:lnTo>
                    <a:pt x="1358650" y="1527902"/>
                  </a:lnTo>
                  <a:lnTo>
                    <a:pt x="1354031" y="1503355"/>
                  </a:lnTo>
                  <a:lnTo>
                    <a:pt x="1349110" y="1477490"/>
                  </a:lnTo>
                  <a:lnTo>
                    <a:pt x="1325060" y="1464017"/>
                  </a:lnTo>
                  <a:lnTo>
                    <a:pt x="1327906" y="1458897"/>
                  </a:lnTo>
                  <a:lnTo>
                    <a:pt x="1324522" y="1455371"/>
                  </a:lnTo>
                  <a:lnTo>
                    <a:pt x="1318183" y="1455371"/>
                  </a:lnTo>
                  <a:lnTo>
                    <a:pt x="1313541" y="1450793"/>
                  </a:lnTo>
                  <a:lnTo>
                    <a:pt x="1312381" y="1443938"/>
                  </a:lnTo>
                  <a:lnTo>
                    <a:pt x="1307890" y="1446935"/>
                  </a:lnTo>
                  <a:lnTo>
                    <a:pt x="1301699" y="1446042"/>
                  </a:lnTo>
                  <a:lnTo>
                    <a:pt x="1303111" y="1443171"/>
                  </a:lnTo>
                  <a:lnTo>
                    <a:pt x="1297675" y="1440317"/>
                  </a:lnTo>
                  <a:lnTo>
                    <a:pt x="1295439" y="1432674"/>
                  </a:lnTo>
                  <a:lnTo>
                    <a:pt x="1277521" y="1423341"/>
                  </a:lnTo>
                  <a:lnTo>
                    <a:pt x="1258832" y="1413595"/>
                  </a:lnTo>
                  <a:lnTo>
                    <a:pt x="1236262" y="1402238"/>
                  </a:lnTo>
                  <a:lnTo>
                    <a:pt x="1214603" y="1391534"/>
                  </a:lnTo>
                  <a:lnTo>
                    <a:pt x="1193949" y="1399888"/>
                  </a:lnTo>
                  <a:lnTo>
                    <a:pt x="1186399" y="1400177"/>
                  </a:lnTo>
                  <a:lnTo>
                    <a:pt x="1158007" y="1392507"/>
                  </a:lnTo>
                  <a:lnTo>
                    <a:pt x="1139310" y="1396345"/>
                  </a:lnTo>
                  <a:lnTo>
                    <a:pt x="1116920" y="1387184"/>
                  </a:lnTo>
                  <a:lnTo>
                    <a:pt x="1093356" y="1382466"/>
                  </a:lnTo>
                  <a:lnTo>
                    <a:pt x="1077238" y="1380642"/>
                  </a:lnTo>
                  <a:lnTo>
                    <a:pt x="1070062" y="1375614"/>
                  </a:lnTo>
                  <a:lnTo>
                    <a:pt x="1065963" y="1359239"/>
                  </a:lnTo>
                  <a:lnTo>
                    <a:pt x="1058149" y="1359382"/>
                  </a:lnTo>
                  <a:lnTo>
                    <a:pt x="1058081" y="1370853"/>
                  </a:lnTo>
                  <a:lnTo>
                    <a:pt x="1010307" y="1370832"/>
                  </a:lnTo>
                  <a:lnTo>
                    <a:pt x="931335" y="1370853"/>
                  </a:lnTo>
                  <a:lnTo>
                    <a:pt x="852894" y="1370857"/>
                  </a:lnTo>
                  <a:lnTo>
                    <a:pt x="783606" y="1370853"/>
                  </a:lnTo>
                  <a:lnTo>
                    <a:pt x="714358" y="1370853"/>
                  </a:lnTo>
                  <a:lnTo>
                    <a:pt x="646264" y="1370853"/>
                  </a:lnTo>
                  <a:lnTo>
                    <a:pt x="575904" y="1370853"/>
                  </a:lnTo>
                  <a:lnTo>
                    <a:pt x="553213" y="1370853"/>
                  </a:lnTo>
                  <a:lnTo>
                    <a:pt x="484685" y="1370853"/>
                  </a:lnTo>
                  <a:lnTo>
                    <a:pt x="419131" y="1370853"/>
                  </a:lnTo>
                  <a:lnTo>
                    <a:pt x="416033" y="1370777"/>
                  </a:lnTo>
                  <a:lnTo>
                    <a:pt x="371344" y="1341360"/>
                  </a:lnTo>
                  <a:lnTo>
                    <a:pt x="354854" y="1328312"/>
                  </a:lnTo>
                  <a:lnTo>
                    <a:pt x="313052" y="1315743"/>
                  </a:lnTo>
                  <a:lnTo>
                    <a:pt x="300191" y="1288661"/>
                  </a:lnTo>
                  <a:lnTo>
                    <a:pt x="303479" y="1269710"/>
                  </a:lnTo>
                  <a:lnTo>
                    <a:pt x="273945" y="1256478"/>
                  </a:lnTo>
                  <a:lnTo>
                    <a:pt x="269896" y="1231226"/>
                  </a:lnTo>
                  <a:lnTo>
                    <a:pt x="241972" y="1208260"/>
                  </a:lnTo>
                  <a:lnTo>
                    <a:pt x="241484" y="1191828"/>
                  </a:lnTo>
                  <a:lnTo>
                    <a:pt x="254320" y="1176345"/>
                  </a:lnTo>
                  <a:lnTo>
                    <a:pt x="253679" y="1155936"/>
                  </a:lnTo>
                  <a:lnTo>
                    <a:pt x="214438" y="1135170"/>
                  </a:lnTo>
                  <a:lnTo>
                    <a:pt x="190833" y="1097467"/>
                  </a:lnTo>
                  <a:lnTo>
                    <a:pt x="176403" y="1073437"/>
                  </a:lnTo>
                  <a:lnTo>
                    <a:pt x="155270" y="1058204"/>
                  </a:lnTo>
                  <a:lnTo>
                    <a:pt x="139715" y="1044280"/>
                  </a:lnTo>
                  <a:lnTo>
                    <a:pt x="127462" y="1026566"/>
                  </a:lnTo>
                  <a:lnTo>
                    <a:pt x="104289" y="1037675"/>
                  </a:lnTo>
                  <a:lnTo>
                    <a:pt x="81835" y="1056715"/>
                  </a:lnTo>
                  <a:lnTo>
                    <a:pt x="61328" y="1034312"/>
                  </a:lnTo>
                  <a:lnTo>
                    <a:pt x="45214" y="1019257"/>
                  </a:lnTo>
                  <a:lnTo>
                    <a:pt x="22732" y="1009687"/>
                  </a:lnTo>
                  <a:lnTo>
                    <a:pt x="0" y="1008663"/>
                  </a:lnTo>
                  <a:lnTo>
                    <a:pt x="122" y="801732"/>
                  </a:lnTo>
                  <a:lnTo>
                    <a:pt x="273" y="654875"/>
                  </a:lnTo>
                  <a:lnTo>
                    <a:pt x="43333" y="664738"/>
                  </a:lnTo>
                  <a:lnTo>
                    <a:pt x="79669" y="684284"/>
                  </a:lnTo>
                  <a:lnTo>
                    <a:pt x="103738" y="687999"/>
                  </a:lnTo>
                  <a:lnTo>
                    <a:pt x="124001" y="671094"/>
                  </a:lnTo>
                  <a:lnTo>
                    <a:pt x="151957" y="658342"/>
                  </a:lnTo>
                  <a:lnTo>
                    <a:pt x="186244" y="663337"/>
                  </a:lnTo>
                  <a:lnTo>
                    <a:pt x="220819" y="645311"/>
                  </a:lnTo>
                  <a:lnTo>
                    <a:pt x="258597" y="635010"/>
                  </a:lnTo>
                  <a:lnTo>
                    <a:pt x="274455" y="652112"/>
                  </a:lnTo>
                  <a:lnTo>
                    <a:pt x="291678" y="642491"/>
                  </a:lnTo>
                  <a:lnTo>
                    <a:pt x="296835" y="622948"/>
                  </a:lnTo>
                  <a:lnTo>
                    <a:pt x="312786" y="627390"/>
                  </a:lnTo>
                  <a:lnTo>
                    <a:pt x="351814" y="664348"/>
                  </a:lnTo>
                  <a:lnTo>
                    <a:pt x="382548" y="636472"/>
                  </a:lnTo>
                  <a:lnTo>
                    <a:pt x="385668" y="667649"/>
                  </a:lnTo>
                  <a:lnTo>
                    <a:pt x="414028" y="660950"/>
                  </a:lnTo>
                  <a:lnTo>
                    <a:pt x="422743" y="648976"/>
                  </a:lnTo>
                  <a:lnTo>
                    <a:pt x="450702" y="651351"/>
                  </a:lnTo>
                  <a:lnTo>
                    <a:pt x="486004" y="668539"/>
                  </a:lnTo>
                  <a:lnTo>
                    <a:pt x="540022" y="683424"/>
                  </a:lnTo>
                  <a:lnTo>
                    <a:pt x="571789" y="690280"/>
                  </a:lnTo>
                  <a:lnTo>
                    <a:pt x="594400" y="687682"/>
                  </a:lnTo>
                  <a:lnTo>
                    <a:pt x="625537" y="708046"/>
                  </a:lnTo>
                  <a:lnTo>
                    <a:pt x="593061" y="727784"/>
                  </a:lnTo>
                  <a:lnTo>
                    <a:pt x="634786" y="736254"/>
                  </a:lnTo>
                  <a:lnTo>
                    <a:pt x="697092" y="731599"/>
                  </a:lnTo>
                  <a:lnTo>
                    <a:pt x="716754" y="724677"/>
                  </a:lnTo>
                  <a:lnTo>
                    <a:pt x="741360" y="748307"/>
                  </a:lnTo>
                  <a:lnTo>
                    <a:pt x="766470" y="728387"/>
                  </a:lnTo>
                  <a:lnTo>
                    <a:pt x="742912" y="711531"/>
                  </a:lnTo>
                  <a:lnTo>
                    <a:pt x="757818" y="697829"/>
                  </a:lnTo>
                  <a:lnTo>
                    <a:pt x="785914" y="695977"/>
                  </a:lnTo>
                  <a:lnTo>
                    <a:pt x="804381" y="691953"/>
                  </a:lnTo>
                  <a:lnTo>
                    <a:pt x="823012" y="701549"/>
                  </a:lnTo>
                  <a:lnTo>
                    <a:pt x="846208" y="723212"/>
                  </a:lnTo>
                  <a:lnTo>
                    <a:pt x="871986" y="720046"/>
                  </a:lnTo>
                  <a:lnTo>
                    <a:pt x="912769" y="737880"/>
                  </a:lnTo>
                  <a:lnTo>
                    <a:pt x="948602" y="731617"/>
                  </a:lnTo>
                  <a:lnTo>
                    <a:pt x="982274" y="732566"/>
                  </a:lnTo>
                  <a:lnTo>
                    <a:pt x="979610" y="707845"/>
                  </a:lnTo>
                  <a:lnTo>
                    <a:pt x="1000133" y="700850"/>
                  </a:lnTo>
                  <a:lnTo>
                    <a:pt x="1035902" y="714411"/>
                  </a:lnTo>
                  <a:lnTo>
                    <a:pt x="1035764" y="751754"/>
                  </a:lnTo>
                  <a:lnTo>
                    <a:pt x="1050455" y="720326"/>
                  </a:lnTo>
                  <a:lnTo>
                    <a:pt x="1069023" y="721393"/>
                  </a:lnTo>
                  <a:lnTo>
                    <a:pt x="1079461" y="681086"/>
                  </a:lnTo>
                  <a:lnTo>
                    <a:pt x="1054733" y="655953"/>
                  </a:lnTo>
                  <a:lnTo>
                    <a:pt x="1027790" y="639313"/>
                  </a:lnTo>
                  <a:lnTo>
                    <a:pt x="1029641" y="593079"/>
                  </a:lnTo>
                  <a:close/>
                  <a:moveTo>
                    <a:pt x="595734" y="501226"/>
                  </a:moveTo>
                  <a:lnTo>
                    <a:pt x="619323" y="509777"/>
                  </a:lnTo>
                  <a:lnTo>
                    <a:pt x="607800" y="530371"/>
                  </a:lnTo>
                  <a:lnTo>
                    <a:pt x="659167" y="517098"/>
                  </a:lnTo>
                  <a:lnTo>
                    <a:pt x="691266" y="539196"/>
                  </a:lnTo>
                  <a:lnTo>
                    <a:pt x="717351" y="516846"/>
                  </a:lnTo>
                  <a:lnTo>
                    <a:pt x="738444" y="531220"/>
                  </a:lnTo>
                  <a:lnTo>
                    <a:pt x="757330" y="573677"/>
                  </a:lnTo>
                  <a:lnTo>
                    <a:pt x="768926" y="555872"/>
                  </a:lnTo>
                  <a:lnTo>
                    <a:pt x="752528" y="511186"/>
                  </a:lnTo>
                  <a:lnTo>
                    <a:pt x="772839" y="504711"/>
                  </a:lnTo>
                  <a:lnTo>
                    <a:pt x="795780" y="511783"/>
                  </a:lnTo>
                  <a:lnTo>
                    <a:pt x="821636" y="529504"/>
                  </a:lnTo>
                  <a:lnTo>
                    <a:pt x="836123" y="571645"/>
                  </a:lnTo>
                  <a:lnTo>
                    <a:pt x="843280" y="601605"/>
                  </a:lnTo>
                  <a:lnTo>
                    <a:pt x="882045" y="622368"/>
                  </a:lnTo>
                  <a:lnTo>
                    <a:pt x="923700" y="642017"/>
                  </a:lnTo>
                  <a:lnTo>
                    <a:pt x="921195" y="660101"/>
                  </a:lnTo>
                  <a:lnTo>
                    <a:pt x="883296" y="663391"/>
                  </a:lnTo>
                  <a:lnTo>
                    <a:pt x="898020" y="679036"/>
                  </a:lnTo>
                  <a:lnTo>
                    <a:pt x="890243" y="693852"/>
                  </a:lnTo>
                  <a:lnTo>
                    <a:pt x="848468" y="687517"/>
                  </a:lnTo>
                  <a:lnTo>
                    <a:pt x="808766" y="676587"/>
                  </a:lnTo>
                  <a:lnTo>
                    <a:pt x="781932" y="679053"/>
                  </a:lnTo>
                  <a:lnTo>
                    <a:pt x="738595" y="692758"/>
                  </a:lnTo>
                  <a:lnTo>
                    <a:pt x="680100" y="698787"/>
                  </a:lnTo>
                  <a:lnTo>
                    <a:pt x="639035" y="702578"/>
                  </a:lnTo>
                  <a:lnTo>
                    <a:pt x="626529" y="683579"/>
                  </a:lnTo>
                  <a:lnTo>
                    <a:pt x="595020" y="672523"/>
                  </a:lnTo>
                  <a:lnTo>
                    <a:pt x="574524" y="677065"/>
                  </a:lnTo>
                  <a:lnTo>
                    <a:pt x="546085" y="644672"/>
                  </a:lnTo>
                  <a:lnTo>
                    <a:pt x="561442" y="640273"/>
                  </a:lnTo>
                  <a:lnTo>
                    <a:pt x="597072" y="633202"/>
                  </a:lnTo>
                  <a:lnTo>
                    <a:pt x="629612" y="635065"/>
                  </a:lnTo>
                  <a:lnTo>
                    <a:pt x="659742" y="627840"/>
                  </a:lnTo>
                  <a:lnTo>
                    <a:pt x="615103" y="618099"/>
                  </a:lnTo>
                  <a:lnTo>
                    <a:pt x="565778" y="621422"/>
                  </a:lnTo>
                  <a:lnTo>
                    <a:pt x="533048" y="620582"/>
                  </a:lnTo>
                  <a:lnTo>
                    <a:pt x="520870" y="605132"/>
                  </a:lnTo>
                  <a:lnTo>
                    <a:pt x="574405" y="588232"/>
                  </a:lnTo>
                  <a:lnTo>
                    <a:pt x="538799" y="588825"/>
                  </a:lnTo>
                  <a:lnTo>
                    <a:pt x="498489" y="577619"/>
                  </a:lnTo>
                  <a:lnTo>
                    <a:pt x="517863" y="545388"/>
                  </a:lnTo>
                  <a:lnTo>
                    <a:pt x="533934" y="528045"/>
                  </a:lnTo>
                  <a:close/>
                  <a:moveTo>
                    <a:pt x="824924" y="486734"/>
                  </a:moveTo>
                  <a:lnTo>
                    <a:pt x="842467" y="496544"/>
                  </a:lnTo>
                  <a:lnTo>
                    <a:pt x="822154" y="525678"/>
                  </a:lnTo>
                  <a:lnTo>
                    <a:pt x="786145" y="494764"/>
                  </a:lnTo>
                  <a:lnTo>
                    <a:pt x="793993" y="488521"/>
                  </a:lnTo>
                  <a:close/>
                  <a:moveTo>
                    <a:pt x="1399843" y="481375"/>
                  </a:moveTo>
                  <a:lnTo>
                    <a:pt x="1452670" y="486201"/>
                  </a:lnTo>
                  <a:lnTo>
                    <a:pt x="1492475" y="510606"/>
                  </a:lnTo>
                  <a:lnTo>
                    <a:pt x="1494520" y="522768"/>
                  </a:lnTo>
                  <a:lnTo>
                    <a:pt x="1469982" y="521488"/>
                  </a:lnTo>
                  <a:lnTo>
                    <a:pt x="1445117" y="520560"/>
                  </a:lnTo>
                  <a:lnTo>
                    <a:pt x="1419851" y="526458"/>
                  </a:lnTo>
                  <a:lnTo>
                    <a:pt x="1413167" y="523798"/>
                  </a:lnTo>
                  <a:lnTo>
                    <a:pt x="1387770" y="500401"/>
                  </a:lnTo>
                  <a:lnTo>
                    <a:pt x="1388744" y="484355"/>
                  </a:lnTo>
                  <a:close/>
                  <a:moveTo>
                    <a:pt x="1273509" y="479397"/>
                  </a:moveTo>
                  <a:lnTo>
                    <a:pt x="1256520" y="508186"/>
                  </a:lnTo>
                  <a:lnTo>
                    <a:pt x="1274705" y="535549"/>
                  </a:lnTo>
                  <a:lnTo>
                    <a:pt x="1296039" y="500086"/>
                  </a:lnTo>
                  <a:lnTo>
                    <a:pt x="1354542" y="481767"/>
                  </a:lnTo>
                  <a:lnTo>
                    <a:pt x="1394141" y="527581"/>
                  </a:lnTo>
                  <a:lnTo>
                    <a:pt x="1390705" y="556027"/>
                  </a:lnTo>
                  <a:lnTo>
                    <a:pt x="1436369" y="543465"/>
                  </a:lnTo>
                  <a:lnTo>
                    <a:pt x="1458206" y="526133"/>
                  </a:lnTo>
                  <a:lnTo>
                    <a:pt x="1509421" y="548170"/>
                  </a:lnTo>
                  <a:lnTo>
                    <a:pt x="1541211" y="568701"/>
                  </a:lnTo>
                  <a:lnTo>
                    <a:pt x="1544200" y="587312"/>
                  </a:lnTo>
                  <a:lnTo>
                    <a:pt x="1587063" y="577690"/>
                  </a:lnTo>
                  <a:lnTo>
                    <a:pt x="1611120" y="604677"/>
                  </a:lnTo>
                  <a:lnTo>
                    <a:pt x="1666840" y="621230"/>
                  </a:lnTo>
                  <a:lnTo>
                    <a:pt x="1686947" y="637981"/>
                  </a:lnTo>
                  <a:lnTo>
                    <a:pt x="1708782" y="676340"/>
                  </a:lnTo>
                  <a:lnTo>
                    <a:pt x="1666400" y="695165"/>
                  </a:lnTo>
                  <a:lnTo>
                    <a:pt x="1720766" y="721261"/>
                  </a:lnTo>
                  <a:lnTo>
                    <a:pt x="1757411" y="729962"/>
                  </a:lnTo>
                  <a:lnTo>
                    <a:pt x="1790589" y="765978"/>
                  </a:lnTo>
                  <a:lnTo>
                    <a:pt x="1826897" y="768554"/>
                  </a:lnTo>
                  <a:lnTo>
                    <a:pt x="1819714" y="795606"/>
                  </a:lnTo>
                  <a:lnTo>
                    <a:pt x="1779198" y="839616"/>
                  </a:lnTo>
                  <a:lnTo>
                    <a:pt x="1750797" y="823532"/>
                  </a:lnTo>
                  <a:lnTo>
                    <a:pt x="1714502" y="786865"/>
                  </a:lnTo>
                  <a:lnTo>
                    <a:pt x="1684638" y="791678"/>
                  </a:lnTo>
                  <a:lnTo>
                    <a:pt x="1681723" y="813543"/>
                  </a:lnTo>
                  <a:lnTo>
                    <a:pt x="1705998" y="835496"/>
                  </a:lnTo>
                  <a:lnTo>
                    <a:pt x="1737334" y="852707"/>
                  </a:lnTo>
                  <a:lnTo>
                    <a:pt x="1746842" y="862582"/>
                  </a:lnTo>
                  <a:lnTo>
                    <a:pt x="1761864" y="898975"/>
                  </a:lnTo>
                  <a:lnTo>
                    <a:pt x="1753914" y="925017"/>
                  </a:lnTo>
                  <a:lnTo>
                    <a:pt x="1724801" y="915238"/>
                  </a:lnTo>
                  <a:lnTo>
                    <a:pt x="1666906" y="886077"/>
                  </a:lnTo>
                  <a:lnTo>
                    <a:pt x="1699534" y="917449"/>
                  </a:lnTo>
                  <a:lnTo>
                    <a:pt x="1723572" y="939165"/>
                  </a:lnTo>
                  <a:lnTo>
                    <a:pt x="1727328" y="951622"/>
                  </a:lnTo>
                  <a:lnTo>
                    <a:pt x="1664733" y="937372"/>
                  </a:lnTo>
                  <a:lnTo>
                    <a:pt x="1615196" y="916482"/>
                  </a:lnTo>
                  <a:lnTo>
                    <a:pt x="1587221" y="898796"/>
                  </a:lnTo>
                  <a:lnTo>
                    <a:pt x="1595279" y="888484"/>
                  </a:lnTo>
                  <a:lnTo>
                    <a:pt x="1560839" y="869571"/>
                  </a:lnTo>
                  <a:lnTo>
                    <a:pt x="1527228" y="851564"/>
                  </a:lnTo>
                  <a:lnTo>
                    <a:pt x="1527595" y="862346"/>
                  </a:lnTo>
                  <a:lnTo>
                    <a:pt x="1460852" y="868256"/>
                  </a:lnTo>
                  <a:lnTo>
                    <a:pt x="1441325" y="855518"/>
                  </a:lnTo>
                  <a:lnTo>
                    <a:pt x="1456529" y="827942"/>
                  </a:lnTo>
                  <a:lnTo>
                    <a:pt x="1499901" y="827271"/>
                  </a:lnTo>
                  <a:lnTo>
                    <a:pt x="1547417" y="822446"/>
                  </a:lnTo>
                  <a:lnTo>
                    <a:pt x="1539705" y="808907"/>
                  </a:lnTo>
                  <a:lnTo>
                    <a:pt x="1547760" y="789842"/>
                  </a:lnTo>
                  <a:lnTo>
                    <a:pt x="1577623" y="752098"/>
                  </a:lnTo>
                  <a:lnTo>
                    <a:pt x="1571278" y="734725"/>
                  </a:lnTo>
                  <a:lnTo>
                    <a:pt x="1562378" y="721171"/>
                  </a:lnTo>
                  <a:lnTo>
                    <a:pt x="1527023" y="701813"/>
                  </a:lnTo>
                  <a:lnTo>
                    <a:pt x="1480262" y="688133"/>
                  </a:lnTo>
                  <a:lnTo>
                    <a:pt x="1495045" y="677895"/>
                  </a:lnTo>
                  <a:lnTo>
                    <a:pt x="1470607" y="652512"/>
                  </a:lnTo>
                  <a:lnTo>
                    <a:pt x="1450265" y="650171"/>
                  </a:lnTo>
                  <a:lnTo>
                    <a:pt x="1432062" y="636121"/>
                  </a:lnTo>
                  <a:lnTo>
                    <a:pt x="1419708" y="648306"/>
                  </a:lnTo>
                  <a:lnTo>
                    <a:pt x="1377859" y="653594"/>
                  </a:lnTo>
                  <a:lnTo>
                    <a:pt x="1293855" y="644398"/>
                  </a:lnTo>
                  <a:lnTo>
                    <a:pt x="1245029" y="632260"/>
                  </a:lnTo>
                  <a:lnTo>
                    <a:pt x="1207595" y="625994"/>
                  </a:lnTo>
                  <a:lnTo>
                    <a:pt x="1188397" y="611314"/>
                  </a:lnTo>
                  <a:lnTo>
                    <a:pt x="1212535" y="592089"/>
                  </a:lnTo>
                  <a:lnTo>
                    <a:pt x="1179747" y="591904"/>
                  </a:lnTo>
                  <a:lnTo>
                    <a:pt x="1172430" y="548542"/>
                  </a:lnTo>
                  <a:lnTo>
                    <a:pt x="1190171" y="509423"/>
                  </a:lnTo>
                  <a:lnTo>
                    <a:pt x="1213908" y="491293"/>
                  </a:lnTo>
                  <a:close/>
                  <a:moveTo>
                    <a:pt x="938112" y="477598"/>
                  </a:moveTo>
                  <a:lnTo>
                    <a:pt x="965639" y="487029"/>
                  </a:lnTo>
                  <a:lnTo>
                    <a:pt x="1006816" y="481362"/>
                  </a:lnTo>
                  <a:lnTo>
                    <a:pt x="1012817" y="494318"/>
                  </a:lnTo>
                  <a:lnTo>
                    <a:pt x="991267" y="515552"/>
                  </a:lnTo>
                  <a:lnTo>
                    <a:pt x="1026205" y="534421"/>
                  </a:lnTo>
                  <a:lnTo>
                    <a:pt x="1022050" y="573287"/>
                  </a:lnTo>
                  <a:lnTo>
                    <a:pt x="984202" y="589773"/>
                  </a:lnTo>
                  <a:lnTo>
                    <a:pt x="961969" y="586227"/>
                  </a:lnTo>
                  <a:lnTo>
                    <a:pt x="945997" y="569938"/>
                  </a:lnTo>
                  <a:lnTo>
                    <a:pt x="888632" y="536601"/>
                  </a:lnTo>
                  <a:lnTo>
                    <a:pt x="889094" y="522609"/>
                  </a:lnTo>
                  <a:lnTo>
                    <a:pt x="936220" y="528048"/>
                  </a:lnTo>
                  <a:lnTo>
                    <a:pt x="910791" y="499210"/>
                  </a:lnTo>
                  <a:close/>
                  <a:moveTo>
                    <a:pt x="1073209" y="464482"/>
                  </a:moveTo>
                  <a:lnTo>
                    <a:pt x="1121305" y="466059"/>
                  </a:lnTo>
                  <a:lnTo>
                    <a:pt x="1165398" y="477021"/>
                  </a:lnTo>
                  <a:lnTo>
                    <a:pt x="1130909" y="516621"/>
                  </a:lnTo>
                  <a:lnTo>
                    <a:pt x="1103386" y="525153"/>
                  </a:lnTo>
                  <a:lnTo>
                    <a:pt x="1078625" y="557636"/>
                  </a:lnTo>
                  <a:lnTo>
                    <a:pt x="1052292" y="556028"/>
                  </a:lnTo>
                  <a:lnTo>
                    <a:pt x="1037891" y="517764"/>
                  </a:lnTo>
                  <a:lnTo>
                    <a:pt x="1038248" y="495768"/>
                  </a:lnTo>
                  <a:lnTo>
                    <a:pt x="1050308" y="476765"/>
                  </a:lnTo>
                  <a:close/>
                  <a:moveTo>
                    <a:pt x="449187" y="450229"/>
                  </a:moveTo>
                  <a:lnTo>
                    <a:pt x="482151" y="459662"/>
                  </a:lnTo>
                  <a:lnTo>
                    <a:pt x="541108" y="462181"/>
                  </a:lnTo>
                  <a:lnTo>
                    <a:pt x="563526" y="475253"/>
                  </a:lnTo>
                  <a:lnTo>
                    <a:pt x="588308" y="494087"/>
                  </a:lnTo>
                  <a:lnTo>
                    <a:pt x="559290" y="505289"/>
                  </a:lnTo>
                  <a:lnTo>
                    <a:pt x="502690" y="536166"/>
                  </a:lnTo>
                  <a:lnTo>
                    <a:pt x="474067" y="566434"/>
                  </a:lnTo>
                  <a:lnTo>
                    <a:pt x="474067" y="585071"/>
                  </a:lnTo>
                  <a:lnTo>
                    <a:pt x="413309" y="605450"/>
                  </a:lnTo>
                  <a:lnTo>
                    <a:pt x="401126" y="586923"/>
                  </a:lnTo>
                  <a:lnTo>
                    <a:pt x="347829" y="564344"/>
                  </a:lnTo>
                  <a:lnTo>
                    <a:pt x="357731" y="546065"/>
                  </a:lnTo>
                  <a:lnTo>
                    <a:pt x="373720" y="514140"/>
                  </a:lnTo>
                  <a:lnTo>
                    <a:pt x="393740" y="484945"/>
                  </a:lnTo>
                  <a:lnTo>
                    <a:pt x="371170" y="457331"/>
                  </a:lnTo>
                  <a:close/>
                  <a:moveTo>
                    <a:pt x="1065196" y="394840"/>
                  </a:moveTo>
                  <a:lnTo>
                    <a:pt x="1085349" y="411219"/>
                  </a:lnTo>
                  <a:lnTo>
                    <a:pt x="1093774" y="425879"/>
                  </a:lnTo>
                  <a:lnTo>
                    <a:pt x="1081213" y="443683"/>
                  </a:lnTo>
                  <a:lnTo>
                    <a:pt x="1047702" y="440274"/>
                  </a:lnTo>
                  <a:lnTo>
                    <a:pt x="1019720" y="428294"/>
                  </a:lnTo>
                  <a:lnTo>
                    <a:pt x="1032008" y="407433"/>
                  </a:lnTo>
                  <a:close/>
                  <a:moveTo>
                    <a:pt x="980963" y="343845"/>
                  </a:moveTo>
                  <a:lnTo>
                    <a:pt x="998608" y="366044"/>
                  </a:lnTo>
                  <a:lnTo>
                    <a:pt x="999327" y="390322"/>
                  </a:lnTo>
                  <a:lnTo>
                    <a:pt x="988811" y="424956"/>
                  </a:lnTo>
                  <a:lnTo>
                    <a:pt x="950754" y="429685"/>
                  </a:lnTo>
                  <a:lnTo>
                    <a:pt x="925942" y="422306"/>
                  </a:lnTo>
                  <a:lnTo>
                    <a:pt x="926420" y="395144"/>
                  </a:lnTo>
                  <a:lnTo>
                    <a:pt x="888584" y="398749"/>
                  </a:lnTo>
                  <a:lnTo>
                    <a:pt x="887120" y="362228"/>
                  </a:lnTo>
                  <a:lnTo>
                    <a:pt x="911952" y="363718"/>
                  </a:lnTo>
                  <a:lnTo>
                    <a:pt x="946720" y="347391"/>
                  </a:lnTo>
                  <a:lnTo>
                    <a:pt x="979186" y="350166"/>
                  </a:lnTo>
                  <a:close/>
                  <a:moveTo>
                    <a:pt x="725181" y="340268"/>
                  </a:moveTo>
                  <a:lnTo>
                    <a:pt x="749015" y="345852"/>
                  </a:lnTo>
                  <a:lnTo>
                    <a:pt x="756798" y="368655"/>
                  </a:lnTo>
                  <a:lnTo>
                    <a:pt x="765846" y="385517"/>
                  </a:lnTo>
                  <a:lnTo>
                    <a:pt x="786401" y="377615"/>
                  </a:lnTo>
                  <a:lnTo>
                    <a:pt x="810590" y="379669"/>
                  </a:lnTo>
                  <a:lnTo>
                    <a:pt x="814653" y="402690"/>
                  </a:lnTo>
                  <a:lnTo>
                    <a:pt x="800607" y="424712"/>
                  </a:lnTo>
                  <a:lnTo>
                    <a:pt x="722437" y="431868"/>
                  </a:lnTo>
                  <a:lnTo>
                    <a:pt x="664198" y="451684"/>
                  </a:lnTo>
                  <a:lnTo>
                    <a:pt x="629095" y="452717"/>
                  </a:lnTo>
                  <a:lnTo>
                    <a:pt x="626151" y="437825"/>
                  </a:lnTo>
                  <a:lnTo>
                    <a:pt x="674097" y="417439"/>
                  </a:lnTo>
                  <a:lnTo>
                    <a:pt x="569810" y="422950"/>
                  </a:lnTo>
                  <a:lnTo>
                    <a:pt x="537535" y="414670"/>
                  </a:lnTo>
                  <a:lnTo>
                    <a:pt x="569029" y="368781"/>
                  </a:lnTo>
                  <a:lnTo>
                    <a:pt x="590753" y="355428"/>
                  </a:lnTo>
                  <a:lnTo>
                    <a:pt x="655715" y="371522"/>
                  </a:lnTo>
                  <a:lnTo>
                    <a:pt x="696718" y="399432"/>
                  </a:lnTo>
                  <a:lnTo>
                    <a:pt x="737046" y="402984"/>
                  </a:lnTo>
                  <a:lnTo>
                    <a:pt x="704034" y="357775"/>
                  </a:lnTo>
                  <a:close/>
                  <a:moveTo>
                    <a:pt x="1021470" y="322456"/>
                  </a:moveTo>
                  <a:lnTo>
                    <a:pt x="1069044" y="325549"/>
                  </a:lnTo>
                  <a:lnTo>
                    <a:pt x="1094670" y="341130"/>
                  </a:lnTo>
                  <a:lnTo>
                    <a:pt x="1140117" y="341023"/>
                  </a:lnTo>
                  <a:lnTo>
                    <a:pt x="1160042" y="356829"/>
                  </a:lnTo>
                  <a:lnTo>
                    <a:pt x="1154783" y="374716"/>
                  </a:lnTo>
                  <a:lnTo>
                    <a:pt x="1181269" y="385410"/>
                  </a:lnTo>
                  <a:lnTo>
                    <a:pt x="1195930" y="396577"/>
                  </a:lnTo>
                  <a:lnTo>
                    <a:pt x="1227064" y="398637"/>
                  </a:lnTo>
                  <a:lnTo>
                    <a:pt x="1260744" y="402554"/>
                  </a:lnTo>
                  <a:lnTo>
                    <a:pt x="1297435" y="392400"/>
                  </a:lnTo>
                  <a:lnTo>
                    <a:pt x="1344436" y="388399"/>
                  </a:lnTo>
                  <a:lnTo>
                    <a:pt x="1381943" y="391706"/>
                  </a:lnTo>
                  <a:lnTo>
                    <a:pt x="1406665" y="409341"/>
                  </a:lnTo>
                  <a:lnTo>
                    <a:pt x="1411826" y="428502"/>
                  </a:lnTo>
                  <a:lnTo>
                    <a:pt x="1397426" y="440711"/>
                  </a:lnTo>
                  <a:lnTo>
                    <a:pt x="1363008" y="450523"/>
                  </a:lnTo>
                  <a:lnTo>
                    <a:pt x="1333461" y="444977"/>
                  </a:lnTo>
                  <a:lnTo>
                    <a:pt x="1267247" y="452000"/>
                  </a:lnTo>
                  <a:lnTo>
                    <a:pt x="1219860" y="452807"/>
                  </a:lnTo>
                  <a:lnTo>
                    <a:pt x="1182596" y="447191"/>
                  </a:lnTo>
                  <a:lnTo>
                    <a:pt x="1121249" y="432431"/>
                  </a:lnTo>
                  <a:lnTo>
                    <a:pt x="1113266" y="407014"/>
                  </a:lnTo>
                  <a:lnTo>
                    <a:pt x="1110459" y="383766"/>
                  </a:lnTo>
                  <a:lnTo>
                    <a:pt x="1087286" y="363056"/>
                  </a:lnTo>
                  <a:lnTo>
                    <a:pt x="1039536" y="357222"/>
                  </a:lnTo>
                  <a:lnTo>
                    <a:pt x="1012785" y="342347"/>
                  </a:lnTo>
                  <a:close/>
                  <a:moveTo>
                    <a:pt x="572432" y="298724"/>
                  </a:moveTo>
                  <a:lnTo>
                    <a:pt x="569265" y="336266"/>
                  </a:lnTo>
                  <a:lnTo>
                    <a:pt x="551485" y="352976"/>
                  </a:lnTo>
                  <a:lnTo>
                    <a:pt x="529918" y="355317"/>
                  </a:lnTo>
                  <a:lnTo>
                    <a:pt x="487009" y="375702"/>
                  </a:lnTo>
                  <a:lnTo>
                    <a:pt x="450061" y="382946"/>
                  </a:lnTo>
                  <a:lnTo>
                    <a:pt x="418786" y="372699"/>
                  </a:lnTo>
                  <a:lnTo>
                    <a:pt x="457966" y="336869"/>
                  </a:lnTo>
                  <a:lnTo>
                    <a:pt x="505369" y="305280"/>
                  </a:lnTo>
                  <a:lnTo>
                    <a:pt x="540773" y="305963"/>
                  </a:lnTo>
                  <a:close/>
                  <a:moveTo>
                    <a:pt x="1028599" y="289355"/>
                  </a:moveTo>
                  <a:lnTo>
                    <a:pt x="1075081" y="290080"/>
                  </a:lnTo>
                  <a:lnTo>
                    <a:pt x="1091283" y="299264"/>
                  </a:lnTo>
                  <a:lnTo>
                    <a:pt x="1088528" y="304897"/>
                  </a:lnTo>
                  <a:lnTo>
                    <a:pt x="1078011" y="306307"/>
                  </a:lnTo>
                  <a:lnTo>
                    <a:pt x="1034753" y="303169"/>
                  </a:lnTo>
                  <a:close/>
                  <a:moveTo>
                    <a:pt x="686325" y="273498"/>
                  </a:moveTo>
                  <a:lnTo>
                    <a:pt x="718872" y="281317"/>
                  </a:lnTo>
                  <a:lnTo>
                    <a:pt x="711197" y="296169"/>
                  </a:lnTo>
                  <a:lnTo>
                    <a:pt x="668165" y="310339"/>
                  </a:lnTo>
                  <a:lnTo>
                    <a:pt x="633931" y="294429"/>
                  </a:lnTo>
                  <a:lnTo>
                    <a:pt x="652621" y="278589"/>
                  </a:lnTo>
                  <a:close/>
                  <a:moveTo>
                    <a:pt x="680888" y="238296"/>
                  </a:moveTo>
                  <a:lnTo>
                    <a:pt x="693268" y="240617"/>
                  </a:lnTo>
                  <a:lnTo>
                    <a:pt x="723288" y="250898"/>
                  </a:lnTo>
                  <a:lnTo>
                    <a:pt x="695169" y="260749"/>
                  </a:lnTo>
                  <a:lnTo>
                    <a:pt x="656834" y="260700"/>
                  </a:lnTo>
                  <a:lnTo>
                    <a:pt x="657208" y="253500"/>
                  </a:lnTo>
                  <a:close/>
                  <a:moveTo>
                    <a:pt x="977916" y="237177"/>
                  </a:moveTo>
                  <a:lnTo>
                    <a:pt x="1007803" y="239214"/>
                  </a:lnTo>
                  <a:lnTo>
                    <a:pt x="1021256" y="242583"/>
                  </a:lnTo>
                  <a:lnTo>
                    <a:pt x="1048843" y="260175"/>
                  </a:lnTo>
                  <a:lnTo>
                    <a:pt x="1042587" y="278295"/>
                  </a:lnTo>
                  <a:lnTo>
                    <a:pt x="1008435" y="288563"/>
                  </a:lnTo>
                  <a:lnTo>
                    <a:pt x="989635" y="277002"/>
                  </a:lnTo>
                  <a:lnTo>
                    <a:pt x="979743" y="258169"/>
                  </a:lnTo>
                  <a:close/>
                  <a:moveTo>
                    <a:pt x="819562" y="215127"/>
                  </a:moveTo>
                  <a:lnTo>
                    <a:pt x="864874" y="222148"/>
                  </a:lnTo>
                  <a:lnTo>
                    <a:pt x="927292" y="240820"/>
                  </a:lnTo>
                  <a:lnTo>
                    <a:pt x="944950" y="264883"/>
                  </a:lnTo>
                  <a:lnTo>
                    <a:pt x="953935" y="285735"/>
                  </a:lnTo>
                  <a:lnTo>
                    <a:pt x="916241" y="280188"/>
                  </a:lnTo>
                  <a:lnTo>
                    <a:pt x="878249" y="263954"/>
                  </a:lnTo>
                  <a:lnTo>
                    <a:pt x="826860" y="262088"/>
                  </a:lnTo>
                  <a:lnTo>
                    <a:pt x="849151" y="247074"/>
                  </a:lnTo>
                  <a:lnTo>
                    <a:pt x="821241" y="234808"/>
                  </a:lnTo>
                  <a:close/>
                  <a:moveTo>
                    <a:pt x="1121540" y="111281"/>
                  </a:moveTo>
                  <a:lnTo>
                    <a:pt x="1151015" y="140220"/>
                  </a:lnTo>
                  <a:lnTo>
                    <a:pt x="1189861" y="151698"/>
                  </a:lnTo>
                  <a:lnTo>
                    <a:pt x="1227717" y="161787"/>
                  </a:lnTo>
                  <a:lnTo>
                    <a:pt x="1245952" y="196531"/>
                  </a:lnTo>
                  <a:lnTo>
                    <a:pt x="1273782" y="213304"/>
                  </a:lnTo>
                  <a:lnTo>
                    <a:pt x="1242084" y="228619"/>
                  </a:lnTo>
                  <a:lnTo>
                    <a:pt x="1199432" y="266768"/>
                  </a:lnTo>
                  <a:lnTo>
                    <a:pt x="1158599" y="270375"/>
                  </a:lnTo>
                  <a:lnTo>
                    <a:pt x="1110764" y="263949"/>
                  </a:lnTo>
                  <a:lnTo>
                    <a:pt x="1085962" y="243337"/>
                  </a:lnTo>
                  <a:lnTo>
                    <a:pt x="1086318" y="224801"/>
                  </a:lnTo>
                  <a:lnTo>
                    <a:pt x="1104565" y="211070"/>
                  </a:lnTo>
                  <a:lnTo>
                    <a:pt x="1062352" y="211464"/>
                  </a:lnTo>
                  <a:lnTo>
                    <a:pt x="1036912" y="194182"/>
                  </a:lnTo>
                  <a:lnTo>
                    <a:pt x="1022288" y="170389"/>
                  </a:lnTo>
                  <a:lnTo>
                    <a:pt x="1038290" y="146722"/>
                  </a:lnTo>
                  <a:lnTo>
                    <a:pt x="1054286" y="130308"/>
                  </a:lnTo>
                  <a:lnTo>
                    <a:pt x="1077946" y="126521"/>
                  </a:lnTo>
                  <a:lnTo>
                    <a:pt x="1067859" y="114062"/>
                  </a:lnTo>
                  <a:close/>
                  <a:moveTo>
                    <a:pt x="1573460" y="0"/>
                  </a:moveTo>
                  <a:lnTo>
                    <a:pt x="1623451" y="3682"/>
                  </a:lnTo>
                  <a:lnTo>
                    <a:pt x="1673443" y="7357"/>
                  </a:lnTo>
                  <a:lnTo>
                    <a:pt x="1735135" y="11882"/>
                  </a:lnTo>
                  <a:lnTo>
                    <a:pt x="1784702" y="19254"/>
                  </a:lnTo>
                  <a:lnTo>
                    <a:pt x="1826943" y="34785"/>
                  </a:lnTo>
                  <a:lnTo>
                    <a:pt x="1825930" y="49933"/>
                  </a:lnTo>
                  <a:lnTo>
                    <a:pt x="1769606" y="74286"/>
                  </a:lnTo>
                  <a:lnTo>
                    <a:pt x="1713759" y="85540"/>
                  </a:lnTo>
                  <a:lnTo>
                    <a:pt x="1692889" y="97902"/>
                  </a:lnTo>
                  <a:lnTo>
                    <a:pt x="1743146" y="97618"/>
                  </a:lnTo>
                  <a:lnTo>
                    <a:pt x="1688678" y="130702"/>
                  </a:lnTo>
                  <a:lnTo>
                    <a:pt x="1651060" y="145945"/>
                  </a:lnTo>
                  <a:lnTo>
                    <a:pt x="1611581" y="189216"/>
                  </a:lnTo>
                  <a:lnTo>
                    <a:pt x="1563967" y="197879"/>
                  </a:lnTo>
                  <a:lnTo>
                    <a:pt x="1549259" y="208478"/>
                  </a:lnTo>
                  <a:lnTo>
                    <a:pt x="1479370" y="214017"/>
                  </a:lnTo>
                  <a:lnTo>
                    <a:pt x="1511190" y="220485"/>
                  </a:lnTo>
                  <a:lnTo>
                    <a:pt x="1495234" y="229656"/>
                  </a:lnTo>
                  <a:lnTo>
                    <a:pt x="1514324" y="254751"/>
                  </a:lnTo>
                  <a:lnTo>
                    <a:pt x="1492393" y="271996"/>
                  </a:lnTo>
                  <a:lnTo>
                    <a:pt x="1456731" y="286114"/>
                  </a:lnTo>
                  <a:lnTo>
                    <a:pt x="1445786" y="305458"/>
                  </a:lnTo>
                  <a:lnTo>
                    <a:pt x="1413544" y="320101"/>
                  </a:lnTo>
                  <a:lnTo>
                    <a:pt x="1416772" y="331112"/>
                  </a:lnTo>
                  <a:lnTo>
                    <a:pt x="1456215" y="329235"/>
                  </a:lnTo>
                  <a:lnTo>
                    <a:pt x="1456717" y="341050"/>
                  </a:lnTo>
                  <a:lnTo>
                    <a:pt x="1395037" y="369775"/>
                  </a:lnTo>
                  <a:lnTo>
                    <a:pt x="1334719" y="356616"/>
                  </a:lnTo>
                  <a:lnTo>
                    <a:pt x="1266915" y="364021"/>
                  </a:lnTo>
                  <a:lnTo>
                    <a:pt x="1232564" y="358245"/>
                  </a:lnTo>
                  <a:lnTo>
                    <a:pt x="1188922" y="355738"/>
                  </a:lnTo>
                  <a:lnTo>
                    <a:pt x="1186027" y="332626"/>
                  </a:lnTo>
                  <a:lnTo>
                    <a:pt x="1228700" y="321630"/>
                  </a:lnTo>
                  <a:lnTo>
                    <a:pt x="1217329" y="286110"/>
                  </a:lnTo>
                  <a:lnTo>
                    <a:pt x="1231410" y="282617"/>
                  </a:lnTo>
                  <a:lnTo>
                    <a:pt x="1293125" y="303976"/>
                  </a:lnTo>
                  <a:lnTo>
                    <a:pt x="1261648" y="272144"/>
                  </a:lnTo>
                  <a:lnTo>
                    <a:pt x="1224210" y="262517"/>
                  </a:lnTo>
                  <a:lnTo>
                    <a:pt x="1242906" y="242946"/>
                  </a:lnTo>
                  <a:lnTo>
                    <a:pt x="1283838" y="230791"/>
                  </a:lnTo>
                  <a:lnTo>
                    <a:pt x="1290387" y="212863"/>
                  </a:lnTo>
                  <a:lnTo>
                    <a:pt x="1257786" y="192551"/>
                  </a:lnTo>
                  <a:lnTo>
                    <a:pt x="1247988" y="165427"/>
                  </a:lnTo>
                  <a:lnTo>
                    <a:pt x="1311081" y="167711"/>
                  </a:lnTo>
                  <a:lnTo>
                    <a:pt x="1329310" y="173442"/>
                  </a:lnTo>
                  <a:lnTo>
                    <a:pt x="1365330" y="154096"/>
                  </a:lnTo>
                  <a:lnTo>
                    <a:pt x="1313354" y="147918"/>
                  </a:lnTo>
                  <a:lnTo>
                    <a:pt x="1232588" y="151327"/>
                  </a:lnTo>
                  <a:lnTo>
                    <a:pt x="1191785" y="133096"/>
                  </a:lnTo>
                  <a:lnTo>
                    <a:pt x="1172549" y="111139"/>
                  </a:lnTo>
                  <a:lnTo>
                    <a:pt x="1145592" y="95055"/>
                  </a:lnTo>
                  <a:lnTo>
                    <a:pt x="1140533" y="76151"/>
                  </a:lnTo>
                  <a:lnTo>
                    <a:pt x="1174858" y="65498"/>
                  </a:lnTo>
                  <a:lnTo>
                    <a:pt x="1201812" y="63676"/>
                  </a:lnTo>
                  <a:lnTo>
                    <a:pt x="1247101" y="54563"/>
                  </a:lnTo>
                  <a:lnTo>
                    <a:pt x="1281038" y="33436"/>
                  </a:lnTo>
                  <a:lnTo>
                    <a:pt x="1309660" y="36414"/>
                  </a:lnTo>
                  <a:lnTo>
                    <a:pt x="1334590" y="52285"/>
                  </a:lnTo>
                  <a:lnTo>
                    <a:pt x="1352132" y="21552"/>
                  </a:lnTo>
                  <a:lnTo>
                    <a:pt x="1382601" y="12345"/>
                  </a:lnTo>
                  <a:lnTo>
                    <a:pt x="1423997" y="5954"/>
                  </a:lnTo>
                  <a:lnTo>
                    <a:pt x="1494553" y="3550"/>
                  </a:lnTo>
                  <a:lnTo>
                    <a:pt x="1506814" y="9802"/>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1" name="Freeform 9">
              <a:extLst>
                <a:ext uri="{FF2B5EF4-FFF2-40B4-BE49-F238E27FC236}">
                  <a16:creationId xmlns:a16="http://schemas.microsoft.com/office/drawing/2014/main" id="{D0B71579-04DB-014C-AA3E-6983ABD51E3F}"/>
                </a:ext>
              </a:extLst>
            </p:cNvPr>
            <p:cNvSpPr>
              <a:spLocks noChangeAspect="1"/>
            </p:cNvSpPr>
            <p:nvPr>
              <p:custDataLst>
                <p:tags r:id="rId15"/>
              </p:custDataLst>
            </p:nvPr>
          </p:nvSpPr>
          <p:spPr>
            <a:xfrm>
              <a:off x="2614611" y="4937902"/>
              <a:ext cx="200460" cy="1026393"/>
            </a:xfrm>
            <a:custGeom>
              <a:avLst/>
              <a:gdLst/>
              <a:ahLst/>
              <a:cxnLst/>
              <a:rect l="l" t="t" r="r" b="b"/>
              <a:pathLst>
                <a:path w="200460" h="1026393">
                  <a:moveTo>
                    <a:pt x="145391" y="928332"/>
                  </a:moveTo>
                  <a:lnTo>
                    <a:pt x="161818" y="932003"/>
                  </a:lnTo>
                  <a:lnTo>
                    <a:pt x="161833" y="1002494"/>
                  </a:lnTo>
                  <a:lnTo>
                    <a:pt x="186552" y="1002511"/>
                  </a:lnTo>
                  <a:lnTo>
                    <a:pt x="200460" y="1003369"/>
                  </a:lnTo>
                  <a:lnTo>
                    <a:pt x="192817" y="1016364"/>
                  </a:lnTo>
                  <a:lnTo>
                    <a:pt x="173022" y="1026393"/>
                  </a:lnTo>
                  <a:lnTo>
                    <a:pt x="161680" y="1025364"/>
                  </a:lnTo>
                  <a:lnTo>
                    <a:pt x="148012" y="1022747"/>
                  </a:lnTo>
                  <a:lnTo>
                    <a:pt x="131255" y="1013055"/>
                  </a:lnTo>
                  <a:lnTo>
                    <a:pt x="107073" y="1008406"/>
                  </a:lnTo>
                  <a:lnTo>
                    <a:pt x="78030" y="990533"/>
                  </a:lnTo>
                  <a:lnTo>
                    <a:pt x="54456" y="973458"/>
                  </a:lnTo>
                  <a:lnTo>
                    <a:pt x="22664" y="938269"/>
                  </a:lnTo>
                  <a:lnTo>
                    <a:pt x="41694" y="944826"/>
                  </a:lnTo>
                  <a:lnTo>
                    <a:pt x="74100" y="965808"/>
                  </a:lnTo>
                  <a:lnTo>
                    <a:pt x="104718" y="977158"/>
                  </a:lnTo>
                  <a:lnTo>
                    <a:pt x="116627" y="962669"/>
                  </a:lnTo>
                  <a:lnTo>
                    <a:pt x="124113" y="941194"/>
                  </a:lnTo>
                  <a:close/>
                  <a:moveTo>
                    <a:pt x="139741" y="0"/>
                  </a:moveTo>
                  <a:lnTo>
                    <a:pt x="151056" y="16203"/>
                  </a:lnTo>
                  <a:lnTo>
                    <a:pt x="154136" y="33438"/>
                  </a:lnTo>
                  <a:lnTo>
                    <a:pt x="166245" y="43573"/>
                  </a:lnTo>
                  <a:lnTo>
                    <a:pt x="158975" y="66797"/>
                  </a:lnTo>
                  <a:lnTo>
                    <a:pt x="171376" y="93836"/>
                  </a:lnTo>
                  <a:lnTo>
                    <a:pt x="180419" y="127248"/>
                  </a:lnTo>
                  <a:lnTo>
                    <a:pt x="197073" y="123918"/>
                  </a:lnTo>
                  <a:lnTo>
                    <a:pt x="199876" y="130006"/>
                  </a:lnTo>
                  <a:lnTo>
                    <a:pt x="191954" y="155341"/>
                  </a:lnTo>
                  <a:lnTo>
                    <a:pt x="166812" y="167413"/>
                  </a:lnTo>
                  <a:lnTo>
                    <a:pt x="167543" y="208423"/>
                  </a:lnTo>
                  <a:lnTo>
                    <a:pt x="162723" y="216386"/>
                  </a:lnTo>
                  <a:lnTo>
                    <a:pt x="169631" y="226112"/>
                  </a:lnTo>
                  <a:lnTo>
                    <a:pt x="153341" y="241569"/>
                  </a:lnTo>
                  <a:lnTo>
                    <a:pt x="138225" y="264985"/>
                  </a:lnTo>
                  <a:lnTo>
                    <a:pt x="129974" y="287796"/>
                  </a:lnTo>
                  <a:lnTo>
                    <a:pt x="132157" y="312243"/>
                  </a:lnTo>
                  <a:lnTo>
                    <a:pt x="117936" y="338375"/>
                  </a:lnTo>
                  <a:lnTo>
                    <a:pt x="128570" y="382627"/>
                  </a:lnTo>
                  <a:lnTo>
                    <a:pt x="134563" y="387340"/>
                  </a:lnTo>
                  <a:lnTo>
                    <a:pt x="134504" y="411163"/>
                  </a:lnTo>
                  <a:lnTo>
                    <a:pt x="121330" y="436622"/>
                  </a:lnTo>
                  <a:lnTo>
                    <a:pt x="121867" y="458559"/>
                  </a:lnTo>
                  <a:lnTo>
                    <a:pt x="104391" y="475804"/>
                  </a:lnTo>
                  <a:lnTo>
                    <a:pt x="104466" y="500216"/>
                  </a:lnTo>
                  <a:lnTo>
                    <a:pt x="111482" y="526354"/>
                  </a:lnTo>
                  <a:lnTo>
                    <a:pt x="97659" y="536129"/>
                  </a:lnTo>
                  <a:lnTo>
                    <a:pt x="91491" y="560279"/>
                  </a:lnTo>
                  <a:lnTo>
                    <a:pt x="86067" y="588234"/>
                  </a:lnTo>
                  <a:lnTo>
                    <a:pt x="89966" y="621845"/>
                  </a:lnTo>
                  <a:lnTo>
                    <a:pt x="80685" y="627493"/>
                  </a:lnTo>
                  <a:lnTo>
                    <a:pt x="86074" y="659716"/>
                  </a:lnTo>
                  <a:lnTo>
                    <a:pt x="96493" y="670382"/>
                  </a:lnTo>
                  <a:lnTo>
                    <a:pt x="88885" y="682233"/>
                  </a:lnTo>
                  <a:lnTo>
                    <a:pt x="99592" y="687910"/>
                  </a:lnTo>
                  <a:lnTo>
                    <a:pt x="102062" y="698615"/>
                  </a:lnTo>
                  <a:lnTo>
                    <a:pt x="91986" y="704013"/>
                  </a:lnTo>
                  <a:lnTo>
                    <a:pt x="94463" y="720808"/>
                  </a:lnTo>
                  <a:lnTo>
                    <a:pt x="86032" y="759069"/>
                  </a:lnTo>
                  <a:lnTo>
                    <a:pt x="73796" y="784025"/>
                  </a:lnTo>
                  <a:lnTo>
                    <a:pt x="76478" y="798918"/>
                  </a:lnTo>
                  <a:lnTo>
                    <a:pt x="69158" y="817721"/>
                  </a:lnTo>
                  <a:lnTo>
                    <a:pt x="51450" y="830836"/>
                  </a:lnTo>
                  <a:lnTo>
                    <a:pt x="53467" y="862731"/>
                  </a:lnTo>
                  <a:lnTo>
                    <a:pt x="61599" y="873731"/>
                  </a:lnTo>
                  <a:lnTo>
                    <a:pt x="76967" y="871773"/>
                  </a:lnTo>
                  <a:lnTo>
                    <a:pt x="76518" y="894625"/>
                  </a:lnTo>
                  <a:lnTo>
                    <a:pt x="86088" y="912560"/>
                  </a:lnTo>
                  <a:lnTo>
                    <a:pt x="141866" y="916692"/>
                  </a:lnTo>
                  <a:lnTo>
                    <a:pt x="163260" y="921542"/>
                  </a:lnTo>
                  <a:lnTo>
                    <a:pt x="142722" y="921310"/>
                  </a:lnTo>
                  <a:lnTo>
                    <a:pt x="131608" y="928942"/>
                  </a:lnTo>
                  <a:lnTo>
                    <a:pt x="110780" y="940194"/>
                  </a:lnTo>
                  <a:lnTo>
                    <a:pt x="107058" y="969529"/>
                  </a:lnTo>
                  <a:lnTo>
                    <a:pt x="97284" y="970262"/>
                  </a:lnTo>
                  <a:lnTo>
                    <a:pt x="71243" y="960010"/>
                  </a:lnTo>
                  <a:lnTo>
                    <a:pt x="44818" y="938193"/>
                  </a:lnTo>
                  <a:lnTo>
                    <a:pt x="16103" y="920406"/>
                  </a:lnTo>
                  <a:lnTo>
                    <a:pt x="8872" y="900867"/>
                  </a:lnTo>
                  <a:lnTo>
                    <a:pt x="15413" y="882926"/>
                  </a:lnTo>
                  <a:lnTo>
                    <a:pt x="3800" y="862718"/>
                  </a:lnTo>
                  <a:lnTo>
                    <a:pt x="839" y="811635"/>
                  </a:lnTo>
                  <a:lnTo>
                    <a:pt x="10655" y="783243"/>
                  </a:lnTo>
                  <a:lnTo>
                    <a:pt x="35035" y="760652"/>
                  </a:lnTo>
                  <a:lnTo>
                    <a:pt x="0" y="752175"/>
                  </a:lnTo>
                  <a:lnTo>
                    <a:pt x="21980" y="726647"/>
                  </a:lnTo>
                  <a:lnTo>
                    <a:pt x="29838" y="679287"/>
                  </a:lnTo>
                  <a:lnTo>
                    <a:pt x="55491" y="689256"/>
                  </a:lnTo>
                  <a:lnTo>
                    <a:pt x="67553" y="631064"/>
                  </a:lnTo>
                  <a:lnTo>
                    <a:pt x="52062" y="623680"/>
                  </a:lnTo>
                  <a:lnTo>
                    <a:pt x="44850" y="658515"/>
                  </a:lnTo>
                  <a:lnTo>
                    <a:pt x="30294" y="654564"/>
                  </a:lnTo>
                  <a:lnTo>
                    <a:pt x="37542" y="614740"/>
                  </a:lnTo>
                  <a:lnTo>
                    <a:pt x="45410" y="563924"/>
                  </a:lnTo>
                  <a:lnTo>
                    <a:pt x="56016" y="545383"/>
                  </a:lnTo>
                  <a:lnTo>
                    <a:pt x="49369" y="519101"/>
                  </a:lnTo>
                  <a:lnTo>
                    <a:pt x="47465" y="489019"/>
                  </a:lnTo>
                  <a:lnTo>
                    <a:pt x="57191" y="488155"/>
                  </a:lnTo>
                  <a:lnTo>
                    <a:pt x="71354" y="445511"/>
                  </a:lnTo>
                  <a:lnTo>
                    <a:pt x="87313" y="403778"/>
                  </a:lnTo>
                  <a:lnTo>
                    <a:pt x="97084" y="365330"/>
                  </a:lnTo>
                  <a:lnTo>
                    <a:pt x="91769" y="327065"/>
                  </a:lnTo>
                  <a:lnTo>
                    <a:pt x="98662" y="306154"/>
                  </a:lnTo>
                  <a:lnTo>
                    <a:pt x="95897" y="275067"/>
                  </a:lnTo>
                  <a:lnTo>
                    <a:pt x="109394" y="244537"/>
                  </a:lnTo>
                  <a:lnTo>
                    <a:pt x="113553" y="196597"/>
                  </a:lnTo>
                  <a:lnTo>
                    <a:pt x="120962" y="145662"/>
                  </a:lnTo>
                  <a:lnTo>
                    <a:pt x="128181" y="91395"/>
                  </a:lnTo>
                  <a:lnTo>
                    <a:pt x="126492" y="51997"/>
                  </a:lnTo>
                  <a:lnTo>
                    <a:pt x="121687" y="18299"/>
                  </a:lnTo>
                  <a:lnTo>
                    <a:pt x="133555" y="1221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2" name="Freeform 10">
              <a:extLst>
                <a:ext uri="{FF2B5EF4-FFF2-40B4-BE49-F238E27FC236}">
                  <a16:creationId xmlns:a16="http://schemas.microsoft.com/office/drawing/2014/main" id="{A0E64A71-F932-B240-A646-10F8D1CF986F}"/>
                </a:ext>
              </a:extLst>
            </p:cNvPr>
            <p:cNvSpPr>
              <a:spLocks noChangeAspect="1"/>
            </p:cNvSpPr>
            <p:nvPr>
              <p:custDataLst>
                <p:tags r:id="rId16"/>
              </p:custDataLst>
            </p:nvPr>
          </p:nvSpPr>
          <p:spPr>
            <a:xfrm>
              <a:off x="2537364" y="4239430"/>
              <a:ext cx="279639" cy="387815"/>
            </a:xfrm>
            <a:custGeom>
              <a:avLst/>
              <a:gdLst/>
              <a:ahLst/>
              <a:cxnLst/>
              <a:rect l="0" t="0" r="0" b="0"/>
              <a:pathLst>
                <a:path w="279639" h="387815">
                  <a:moveTo>
                    <a:pt x="83507" y="292050"/>
                  </a:moveTo>
                  <a:lnTo>
                    <a:pt x="73622" y="286583"/>
                  </a:lnTo>
                  <a:lnTo>
                    <a:pt x="62292" y="278937"/>
                  </a:lnTo>
                  <a:lnTo>
                    <a:pt x="55735" y="282610"/>
                  </a:lnTo>
                  <a:lnTo>
                    <a:pt x="36147" y="279407"/>
                  </a:lnTo>
                  <a:lnTo>
                    <a:pt x="30523" y="269476"/>
                  </a:lnTo>
                  <a:lnTo>
                    <a:pt x="26219" y="269845"/>
                  </a:lnTo>
                  <a:lnTo>
                    <a:pt x="3132" y="256663"/>
                  </a:lnTo>
                  <a:lnTo>
                    <a:pt x="0" y="249496"/>
                  </a:lnTo>
                  <a:lnTo>
                    <a:pt x="8613" y="247763"/>
                  </a:lnTo>
                  <a:lnTo>
                    <a:pt x="7590" y="236195"/>
                  </a:lnTo>
                  <a:lnTo>
                    <a:pt x="13003" y="227830"/>
                  </a:lnTo>
                  <a:lnTo>
                    <a:pt x="24454" y="226281"/>
                  </a:lnTo>
                  <a:lnTo>
                    <a:pt x="34174" y="211763"/>
                  </a:lnTo>
                  <a:lnTo>
                    <a:pt x="43009" y="199638"/>
                  </a:lnTo>
                  <a:lnTo>
                    <a:pt x="34501" y="194137"/>
                  </a:lnTo>
                  <a:lnTo>
                    <a:pt x="38856" y="180715"/>
                  </a:lnTo>
                  <a:lnTo>
                    <a:pt x="33648" y="159544"/>
                  </a:lnTo>
                  <a:lnTo>
                    <a:pt x="38597" y="153464"/>
                  </a:lnTo>
                  <a:lnTo>
                    <a:pt x="34954" y="133867"/>
                  </a:lnTo>
                  <a:lnTo>
                    <a:pt x="25607" y="121513"/>
                  </a:lnTo>
                  <a:lnTo>
                    <a:pt x="28566" y="110232"/>
                  </a:lnTo>
                  <a:lnTo>
                    <a:pt x="36005" y="111899"/>
                  </a:lnTo>
                  <a:lnTo>
                    <a:pt x="40357" y="104997"/>
                  </a:lnTo>
                  <a:lnTo>
                    <a:pt x="34998" y="91311"/>
                  </a:lnTo>
                  <a:lnTo>
                    <a:pt x="37800" y="87911"/>
                  </a:lnTo>
                  <a:lnTo>
                    <a:pt x="49726" y="88650"/>
                  </a:lnTo>
                  <a:lnTo>
                    <a:pt x="67045" y="72409"/>
                  </a:lnTo>
                  <a:lnTo>
                    <a:pt x="76550" y="69931"/>
                  </a:lnTo>
                  <a:lnTo>
                    <a:pt x="76779" y="62227"/>
                  </a:lnTo>
                  <a:lnTo>
                    <a:pt x="81032" y="42523"/>
                  </a:lnTo>
                  <a:lnTo>
                    <a:pt x="94271" y="31687"/>
                  </a:lnTo>
                  <a:lnTo>
                    <a:pt x="108816" y="31243"/>
                  </a:lnTo>
                  <a:lnTo>
                    <a:pt x="110652" y="26372"/>
                  </a:lnTo>
                  <a:lnTo>
                    <a:pt x="128713" y="28323"/>
                  </a:lnTo>
                  <a:lnTo>
                    <a:pt x="146878" y="16516"/>
                  </a:lnTo>
                  <a:lnTo>
                    <a:pt x="155872" y="11284"/>
                  </a:lnTo>
                  <a:lnTo>
                    <a:pt x="167046" y="0"/>
                  </a:lnTo>
                  <a:lnTo>
                    <a:pt x="175223" y="1436"/>
                  </a:lnTo>
                  <a:lnTo>
                    <a:pt x="181280" y="7598"/>
                  </a:lnTo>
                  <a:lnTo>
                    <a:pt x="176799" y="15479"/>
                  </a:lnTo>
                  <a:lnTo>
                    <a:pt x="161972" y="19400"/>
                  </a:lnTo>
                  <a:lnTo>
                    <a:pt x="156117" y="31088"/>
                  </a:lnTo>
                  <a:lnTo>
                    <a:pt x="147182" y="37785"/>
                  </a:lnTo>
                  <a:lnTo>
                    <a:pt x="140473" y="46458"/>
                  </a:lnTo>
                  <a:lnTo>
                    <a:pt x="137650" y="63094"/>
                  </a:lnTo>
                  <a:lnTo>
                    <a:pt x="131248" y="76711"/>
                  </a:lnTo>
                  <a:lnTo>
                    <a:pt x="143164" y="78269"/>
                  </a:lnTo>
                  <a:lnTo>
                    <a:pt x="146124" y="88963"/>
                  </a:lnTo>
                  <a:lnTo>
                    <a:pt x="151216" y="94078"/>
                  </a:lnTo>
                  <a:lnTo>
                    <a:pt x="153039" y="103433"/>
                  </a:lnTo>
                  <a:lnTo>
                    <a:pt x="150298" y="112028"/>
                  </a:lnTo>
                  <a:lnTo>
                    <a:pt x="151110" y="116872"/>
                  </a:lnTo>
                  <a:lnTo>
                    <a:pt x="156791" y="118806"/>
                  </a:lnTo>
                  <a:lnTo>
                    <a:pt x="162289" y="126898"/>
                  </a:lnTo>
                  <a:lnTo>
                    <a:pt x="191972" y="124668"/>
                  </a:lnTo>
                  <a:lnTo>
                    <a:pt x="205381" y="127623"/>
                  </a:lnTo>
                  <a:lnTo>
                    <a:pt x="221627" y="147569"/>
                  </a:lnTo>
                  <a:lnTo>
                    <a:pt x="230957" y="145091"/>
                  </a:lnTo>
                  <a:lnTo>
                    <a:pt x="247582" y="146332"/>
                  </a:lnTo>
                  <a:lnTo>
                    <a:pt x="260739" y="143689"/>
                  </a:lnTo>
                  <a:lnTo>
                    <a:pt x="268902" y="147671"/>
                  </a:lnTo>
                  <a:lnTo>
                    <a:pt x="264745" y="160144"/>
                  </a:lnTo>
                  <a:lnTo>
                    <a:pt x="259594" y="167916"/>
                  </a:lnTo>
                  <a:lnTo>
                    <a:pt x="257786" y="184509"/>
                  </a:lnTo>
                  <a:lnTo>
                    <a:pt x="262429" y="199873"/>
                  </a:lnTo>
                  <a:lnTo>
                    <a:pt x="268991" y="206740"/>
                  </a:lnTo>
                  <a:lnTo>
                    <a:pt x="269785" y="211914"/>
                  </a:lnTo>
                  <a:lnTo>
                    <a:pt x="258088" y="223415"/>
                  </a:lnTo>
                  <a:lnTo>
                    <a:pt x="266463" y="228506"/>
                  </a:lnTo>
                  <a:lnTo>
                    <a:pt x="272598" y="236581"/>
                  </a:lnTo>
                  <a:lnTo>
                    <a:pt x="279638" y="259608"/>
                  </a:lnTo>
                  <a:lnTo>
                    <a:pt x="275282" y="262453"/>
                  </a:lnTo>
                  <a:lnTo>
                    <a:pt x="270782" y="248834"/>
                  </a:lnTo>
                  <a:lnTo>
                    <a:pt x="264369" y="241511"/>
                  </a:lnTo>
                  <a:lnTo>
                    <a:pt x="256734" y="249470"/>
                  </a:lnTo>
                  <a:lnTo>
                    <a:pt x="211760" y="248955"/>
                  </a:lnTo>
                  <a:lnTo>
                    <a:pt x="212046" y="263401"/>
                  </a:lnTo>
                  <a:lnTo>
                    <a:pt x="225571" y="265788"/>
                  </a:lnTo>
                  <a:lnTo>
                    <a:pt x="224791" y="274630"/>
                  </a:lnTo>
                  <a:lnTo>
                    <a:pt x="220175" y="272240"/>
                  </a:lnTo>
                  <a:lnTo>
                    <a:pt x="207176" y="276043"/>
                  </a:lnTo>
                  <a:lnTo>
                    <a:pt x="207058" y="292815"/>
                  </a:lnTo>
                  <a:lnTo>
                    <a:pt x="217298" y="301236"/>
                  </a:lnTo>
                  <a:lnTo>
                    <a:pt x="220912" y="314455"/>
                  </a:lnTo>
                  <a:lnTo>
                    <a:pt x="220367" y="324467"/>
                  </a:lnTo>
                  <a:lnTo>
                    <a:pt x="209990" y="387814"/>
                  </a:lnTo>
                  <a:lnTo>
                    <a:pt x="198440" y="375524"/>
                  </a:lnTo>
                  <a:lnTo>
                    <a:pt x="191546" y="374976"/>
                  </a:lnTo>
                  <a:lnTo>
                    <a:pt x="206434" y="351460"/>
                  </a:lnTo>
                  <a:lnTo>
                    <a:pt x="188758" y="340644"/>
                  </a:lnTo>
                  <a:lnTo>
                    <a:pt x="174905" y="342628"/>
                  </a:lnTo>
                  <a:lnTo>
                    <a:pt x="166569" y="338633"/>
                  </a:lnTo>
                  <a:lnTo>
                    <a:pt x="153850" y="344740"/>
                  </a:lnTo>
                  <a:lnTo>
                    <a:pt x="136662" y="341847"/>
                  </a:lnTo>
                  <a:lnTo>
                    <a:pt x="123064" y="317638"/>
                  </a:lnTo>
                  <a:lnTo>
                    <a:pt x="112379" y="311689"/>
                  </a:lnTo>
                  <a:lnTo>
                    <a:pt x="105011" y="300793"/>
                  </a:lnTo>
                  <a:lnTo>
                    <a:pt x="89661" y="28986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3" name="Freeform 11">
              <a:extLst>
                <a:ext uri="{FF2B5EF4-FFF2-40B4-BE49-F238E27FC236}">
                  <a16:creationId xmlns:a16="http://schemas.microsoft.com/office/drawing/2014/main" id="{591C7699-05F6-CE4E-A5A9-9F3E8013AE21}"/>
                </a:ext>
              </a:extLst>
            </p:cNvPr>
            <p:cNvSpPr>
              <a:spLocks noChangeAspect="1"/>
            </p:cNvSpPr>
            <p:nvPr>
              <p:custDataLst>
                <p:tags r:id="rId17"/>
              </p:custDataLst>
            </p:nvPr>
          </p:nvSpPr>
          <p:spPr>
            <a:xfrm>
              <a:off x="2376921" y="4267984"/>
              <a:ext cx="78379" cy="69713"/>
            </a:xfrm>
            <a:custGeom>
              <a:avLst/>
              <a:gdLst/>
              <a:ahLst/>
              <a:cxnLst/>
              <a:rect l="0" t="0" r="0" b="0"/>
              <a:pathLst>
                <a:path w="78379" h="69713">
                  <a:moveTo>
                    <a:pt x="68693" y="69712"/>
                  </a:moveTo>
                  <a:lnTo>
                    <a:pt x="56167" y="64555"/>
                  </a:lnTo>
                  <a:lnTo>
                    <a:pt x="51481" y="59675"/>
                  </a:lnTo>
                  <a:lnTo>
                    <a:pt x="54139" y="55638"/>
                  </a:lnTo>
                  <a:lnTo>
                    <a:pt x="53300" y="50498"/>
                  </a:lnTo>
                  <a:lnTo>
                    <a:pt x="46901" y="44926"/>
                  </a:lnTo>
                  <a:lnTo>
                    <a:pt x="37817" y="40350"/>
                  </a:lnTo>
                  <a:lnTo>
                    <a:pt x="29871" y="37364"/>
                  </a:lnTo>
                  <a:lnTo>
                    <a:pt x="28355" y="30549"/>
                  </a:lnTo>
                  <a:lnTo>
                    <a:pt x="22300" y="26384"/>
                  </a:lnTo>
                  <a:lnTo>
                    <a:pt x="23784" y="33160"/>
                  </a:lnTo>
                  <a:lnTo>
                    <a:pt x="19178" y="38727"/>
                  </a:lnTo>
                  <a:lnTo>
                    <a:pt x="13902" y="32262"/>
                  </a:lnTo>
                  <a:lnTo>
                    <a:pt x="6485" y="29960"/>
                  </a:lnTo>
                  <a:lnTo>
                    <a:pt x="3331" y="25262"/>
                  </a:lnTo>
                  <a:lnTo>
                    <a:pt x="3463" y="18161"/>
                  </a:lnTo>
                  <a:lnTo>
                    <a:pt x="6519" y="10810"/>
                  </a:lnTo>
                  <a:lnTo>
                    <a:pt x="0" y="7519"/>
                  </a:lnTo>
                  <a:lnTo>
                    <a:pt x="5291" y="3007"/>
                  </a:lnTo>
                  <a:lnTo>
                    <a:pt x="8769" y="0"/>
                  </a:lnTo>
                  <a:lnTo>
                    <a:pt x="23977" y="6187"/>
                  </a:lnTo>
                  <a:lnTo>
                    <a:pt x="29284" y="3142"/>
                  </a:lnTo>
                  <a:lnTo>
                    <a:pt x="36605" y="5091"/>
                  </a:lnTo>
                  <a:lnTo>
                    <a:pt x="40431" y="9896"/>
                  </a:lnTo>
                  <a:lnTo>
                    <a:pt x="47243" y="11451"/>
                  </a:lnTo>
                  <a:lnTo>
                    <a:pt x="52770" y="6503"/>
                  </a:lnTo>
                  <a:lnTo>
                    <a:pt x="58617" y="19185"/>
                  </a:lnTo>
                  <a:lnTo>
                    <a:pt x="67541" y="28570"/>
                  </a:lnTo>
                  <a:lnTo>
                    <a:pt x="78378" y="38515"/>
                  </a:lnTo>
                  <a:lnTo>
                    <a:pt x="69452" y="40595"/>
                  </a:lnTo>
                  <a:lnTo>
                    <a:pt x="69585" y="49964"/>
                  </a:lnTo>
                  <a:lnTo>
                    <a:pt x="74385" y="53422"/>
                  </a:lnTo>
                  <a:lnTo>
                    <a:pt x="70935" y="56177"/>
                  </a:lnTo>
                  <a:lnTo>
                    <a:pt x="71833" y="60386"/>
                  </a:lnTo>
                  <a:lnTo>
                    <a:pt x="69908" y="6510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4" name="Freeform 12">
              <a:extLst>
                <a:ext uri="{FF2B5EF4-FFF2-40B4-BE49-F238E27FC236}">
                  <a16:creationId xmlns:a16="http://schemas.microsoft.com/office/drawing/2014/main" id="{4AD65E8B-506F-6544-A610-C90B81009106}"/>
                </a:ext>
              </a:extLst>
            </p:cNvPr>
            <p:cNvSpPr>
              <a:spLocks noChangeAspect="1"/>
            </p:cNvSpPr>
            <p:nvPr>
              <p:custDataLst>
                <p:tags r:id="rId18"/>
              </p:custDataLst>
            </p:nvPr>
          </p:nvSpPr>
          <p:spPr>
            <a:xfrm>
              <a:off x="2399238" y="3983111"/>
              <a:ext cx="249222" cy="80557"/>
            </a:xfrm>
            <a:custGeom>
              <a:avLst/>
              <a:gdLst/>
              <a:ahLst/>
              <a:cxnLst/>
              <a:rect l="0" t="0" r="0" b="0"/>
              <a:pathLst>
                <a:path w="249222" h="80557">
                  <a:moveTo>
                    <a:pt x="62479" y="0"/>
                  </a:moveTo>
                  <a:lnTo>
                    <a:pt x="82416" y="1736"/>
                  </a:lnTo>
                  <a:lnTo>
                    <a:pt x="100552" y="2011"/>
                  </a:lnTo>
                  <a:lnTo>
                    <a:pt x="122232" y="10296"/>
                  </a:lnTo>
                  <a:lnTo>
                    <a:pt x="131420" y="19185"/>
                  </a:lnTo>
                  <a:lnTo>
                    <a:pt x="152980" y="16444"/>
                  </a:lnTo>
                  <a:lnTo>
                    <a:pt x="161155" y="22144"/>
                  </a:lnTo>
                  <a:lnTo>
                    <a:pt x="180703" y="37140"/>
                  </a:lnTo>
                  <a:lnTo>
                    <a:pt x="195074" y="48036"/>
                  </a:lnTo>
                  <a:lnTo>
                    <a:pt x="202673" y="47704"/>
                  </a:lnTo>
                  <a:lnTo>
                    <a:pt x="216439" y="52624"/>
                  </a:lnTo>
                  <a:lnTo>
                    <a:pt x="214758" y="59408"/>
                  </a:lnTo>
                  <a:lnTo>
                    <a:pt x="231774" y="60400"/>
                  </a:lnTo>
                  <a:lnTo>
                    <a:pt x="249221" y="70248"/>
                  </a:lnTo>
                  <a:lnTo>
                    <a:pt x="246483" y="75877"/>
                  </a:lnTo>
                  <a:lnTo>
                    <a:pt x="231134" y="78924"/>
                  </a:lnTo>
                  <a:lnTo>
                    <a:pt x="215598" y="80117"/>
                  </a:lnTo>
                  <a:lnTo>
                    <a:pt x="199694" y="78217"/>
                  </a:lnTo>
                  <a:lnTo>
                    <a:pt x="166644" y="80556"/>
                  </a:lnTo>
                  <a:lnTo>
                    <a:pt x="182118" y="67152"/>
                  </a:lnTo>
                  <a:lnTo>
                    <a:pt x="172711" y="60901"/>
                  </a:lnTo>
                  <a:lnTo>
                    <a:pt x="157831" y="59291"/>
                  </a:lnTo>
                  <a:lnTo>
                    <a:pt x="149855" y="52335"/>
                  </a:lnTo>
                  <a:lnTo>
                    <a:pt x="144383" y="38584"/>
                  </a:lnTo>
                  <a:lnTo>
                    <a:pt x="131338" y="39526"/>
                  </a:lnTo>
                  <a:lnTo>
                    <a:pt x="109814" y="33041"/>
                  </a:lnTo>
                  <a:lnTo>
                    <a:pt x="102888" y="27963"/>
                  </a:lnTo>
                  <a:lnTo>
                    <a:pt x="72802" y="24208"/>
                  </a:lnTo>
                  <a:lnTo>
                    <a:pt x="64745" y="19478"/>
                  </a:lnTo>
                  <a:lnTo>
                    <a:pt x="73401" y="13414"/>
                  </a:lnTo>
                  <a:lnTo>
                    <a:pt x="50759" y="12171"/>
                  </a:lnTo>
                  <a:lnTo>
                    <a:pt x="34173" y="24778"/>
                  </a:lnTo>
                  <a:lnTo>
                    <a:pt x="24609" y="25116"/>
                  </a:lnTo>
                  <a:lnTo>
                    <a:pt x="21300" y="31026"/>
                  </a:lnTo>
                  <a:lnTo>
                    <a:pt x="9877" y="33672"/>
                  </a:lnTo>
                  <a:lnTo>
                    <a:pt x="0" y="31378"/>
                  </a:lnTo>
                  <a:lnTo>
                    <a:pt x="12184" y="23896"/>
                  </a:lnTo>
                  <a:lnTo>
                    <a:pt x="17186" y="15143"/>
                  </a:lnTo>
                  <a:lnTo>
                    <a:pt x="27623" y="9742"/>
                  </a:lnTo>
                  <a:lnTo>
                    <a:pt x="39411" y="5003"/>
                  </a:lnTo>
                  <a:lnTo>
                    <a:pt x="56887" y="267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5" name="Freeform 13">
              <a:extLst>
                <a:ext uri="{FF2B5EF4-FFF2-40B4-BE49-F238E27FC236}">
                  <a16:creationId xmlns:a16="http://schemas.microsoft.com/office/drawing/2014/main" id="{BE0B8AD1-11E7-A348-B54E-88BB533CC560}"/>
                </a:ext>
              </a:extLst>
            </p:cNvPr>
            <p:cNvSpPr>
              <a:spLocks noChangeAspect="1"/>
            </p:cNvSpPr>
            <p:nvPr>
              <p:custDataLst>
                <p:tags r:id="rId19"/>
              </p:custDataLst>
            </p:nvPr>
          </p:nvSpPr>
          <p:spPr>
            <a:xfrm>
              <a:off x="2700001" y="4062960"/>
              <a:ext cx="83726" cy="54639"/>
            </a:xfrm>
            <a:custGeom>
              <a:avLst/>
              <a:gdLst/>
              <a:ahLst/>
              <a:cxnLst/>
              <a:rect l="0" t="0" r="0" b="0"/>
              <a:pathLst>
                <a:path w="83726" h="54639">
                  <a:moveTo>
                    <a:pt x="5372" y="4090"/>
                  </a:moveTo>
                  <a:lnTo>
                    <a:pt x="8259" y="0"/>
                  </a:lnTo>
                  <a:lnTo>
                    <a:pt x="26277" y="111"/>
                  </a:lnTo>
                  <a:lnTo>
                    <a:pt x="39950" y="6286"/>
                  </a:lnTo>
                  <a:lnTo>
                    <a:pt x="46034" y="5684"/>
                  </a:lnTo>
                  <a:lnTo>
                    <a:pt x="50225" y="14184"/>
                  </a:lnTo>
                  <a:lnTo>
                    <a:pt x="62854" y="13707"/>
                  </a:lnTo>
                  <a:lnTo>
                    <a:pt x="62110" y="20840"/>
                  </a:lnTo>
                  <a:lnTo>
                    <a:pt x="72380" y="21703"/>
                  </a:lnTo>
                  <a:lnTo>
                    <a:pt x="83725" y="30472"/>
                  </a:lnTo>
                  <a:lnTo>
                    <a:pt x="75152" y="40187"/>
                  </a:lnTo>
                  <a:lnTo>
                    <a:pt x="64173" y="34998"/>
                  </a:lnTo>
                  <a:lnTo>
                    <a:pt x="53578" y="35999"/>
                  </a:lnTo>
                  <a:lnTo>
                    <a:pt x="45984" y="34863"/>
                  </a:lnTo>
                  <a:lnTo>
                    <a:pt x="41823" y="39215"/>
                  </a:lnTo>
                  <a:lnTo>
                    <a:pt x="32961" y="40684"/>
                  </a:lnTo>
                  <a:lnTo>
                    <a:pt x="29449" y="34897"/>
                  </a:lnTo>
                  <a:lnTo>
                    <a:pt x="21817" y="38322"/>
                  </a:lnTo>
                  <a:lnTo>
                    <a:pt x="12578" y="54638"/>
                  </a:lnTo>
                  <a:lnTo>
                    <a:pt x="6635" y="50853"/>
                  </a:lnTo>
                  <a:lnTo>
                    <a:pt x="5466" y="44006"/>
                  </a:lnTo>
                  <a:lnTo>
                    <a:pt x="5941" y="37527"/>
                  </a:lnTo>
                  <a:lnTo>
                    <a:pt x="0" y="30360"/>
                  </a:lnTo>
                  <a:lnTo>
                    <a:pt x="5627" y="26333"/>
                  </a:lnTo>
                  <a:lnTo>
                    <a:pt x="7392" y="1713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6" name="Freeform 14">
              <a:extLst>
                <a:ext uri="{FF2B5EF4-FFF2-40B4-BE49-F238E27FC236}">
                  <a16:creationId xmlns:a16="http://schemas.microsoft.com/office/drawing/2014/main" id="{F9FE764D-342F-594C-B5BC-F613DBB6EDC4}"/>
                </a:ext>
              </a:extLst>
            </p:cNvPr>
            <p:cNvSpPr>
              <a:spLocks noChangeAspect="1"/>
            </p:cNvSpPr>
            <p:nvPr>
              <p:custDataLst>
                <p:tags r:id="rId20"/>
              </p:custDataLst>
            </p:nvPr>
          </p:nvSpPr>
          <p:spPr>
            <a:xfrm>
              <a:off x="2491734" y="4496093"/>
              <a:ext cx="132358" cy="146440"/>
            </a:xfrm>
            <a:custGeom>
              <a:avLst/>
              <a:gdLst/>
              <a:ahLst/>
              <a:cxnLst/>
              <a:rect l="0" t="0" r="0" b="0"/>
              <a:pathLst>
                <a:path w="132358" h="146440">
                  <a:moveTo>
                    <a:pt x="15354" y="110500"/>
                  </a:moveTo>
                  <a:lnTo>
                    <a:pt x="27641" y="93234"/>
                  </a:lnTo>
                  <a:lnTo>
                    <a:pt x="22649" y="83148"/>
                  </a:lnTo>
                  <a:lnTo>
                    <a:pt x="13826" y="93873"/>
                  </a:lnTo>
                  <a:lnTo>
                    <a:pt x="0" y="83751"/>
                  </a:lnTo>
                  <a:lnTo>
                    <a:pt x="4685" y="77242"/>
                  </a:lnTo>
                  <a:lnTo>
                    <a:pt x="787" y="56287"/>
                  </a:lnTo>
                  <a:lnTo>
                    <a:pt x="8873" y="52806"/>
                  </a:lnTo>
                  <a:lnTo>
                    <a:pt x="13121" y="38426"/>
                  </a:lnTo>
                  <a:lnTo>
                    <a:pt x="21856" y="23560"/>
                  </a:lnTo>
                  <a:lnTo>
                    <a:pt x="20247" y="14140"/>
                  </a:lnTo>
                  <a:lnTo>
                    <a:pt x="32893" y="9188"/>
                  </a:lnTo>
                  <a:lnTo>
                    <a:pt x="48762" y="0"/>
                  </a:lnTo>
                  <a:lnTo>
                    <a:pt x="71849" y="13182"/>
                  </a:lnTo>
                  <a:lnTo>
                    <a:pt x="76153" y="12813"/>
                  </a:lnTo>
                  <a:lnTo>
                    <a:pt x="81777" y="22744"/>
                  </a:lnTo>
                  <a:lnTo>
                    <a:pt x="101365" y="25947"/>
                  </a:lnTo>
                  <a:lnTo>
                    <a:pt x="107922" y="22274"/>
                  </a:lnTo>
                  <a:lnTo>
                    <a:pt x="119252" y="29920"/>
                  </a:lnTo>
                  <a:lnTo>
                    <a:pt x="129137" y="35387"/>
                  </a:lnTo>
                  <a:lnTo>
                    <a:pt x="132357" y="52916"/>
                  </a:lnTo>
                  <a:lnTo>
                    <a:pt x="125172" y="67926"/>
                  </a:lnTo>
                  <a:lnTo>
                    <a:pt x="100003" y="92106"/>
                  </a:lnTo>
                  <a:lnTo>
                    <a:pt x="72245" y="101216"/>
                  </a:lnTo>
                  <a:lnTo>
                    <a:pt x="58101" y="121322"/>
                  </a:lnTo>
                  <a:lnTo>
                    <a:pt x="53733" y="136923"/>
                  </a:lnTo>
                  <a:lnTo>
                    <a:pt x="40682" y="146439"/>
                  </a:lnTo>
                  <a:lnTo>
                    <a:pt x="30995" y="134759"/>
                  </a:lnTo>
                  <a:lnTo>
                    <a:pt x="21671" y="132259"/>
                  </a:lnTo>
                  <a:lnTo>
                    <a:pt x="12130" y="134100"/>
                  </a:lnTo>
                  <a:lnTo>
                    <a:pt x="11506" y="125627"/>
                  </a:lnTo>
                  <a:lnTo>
                    <a:pt x="18091" y="120122"/>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7" name="Freeform 15">
              <a:extLst>
                <a:ext uri="{FF2B5EF4-FFF2-40B4-BE49-F238E27FC236}">
                  <a16:creationId xmlns:a16="http://schemas.microsoft.com/office/drawing/2014/main" id="{C37669C3-E8A8-3E44-B4C8-AF7DD9F63882}"/>
                </a:ext>
              </a:extLst>
            </p:cNvPr>
            <p:cNvSpPr>
              <a:spLocks noChangeAspect="1"/>
            </p:cNvSpPr>
            <p:nvPr>
              <p:custDataLst>
                <p:tags r:id="rId21"/>
              </p:custDataLst>
            </p:nvPr>
          </p:nvSpPr>
          <p:spPr>
            <a:xfrm>
              <a:off x="2231789" y="4112342"/>
              <a:ext cx="92429" cy="96620"/>
            </a:xfrm>
            <a:custGeom>
              <a:avLst/>
              <a:gdLst/>
              <a:ahLst/>
              <a:cxnLst/>
              <a:rect l="0" t="0" r="0" b="0"/>
              <a:pathLst>
                <a:path w="92429" h="96620">
                  <a:moveTo>
                    <a:pt x="49251" y="96619"/>
                  </a:moveTo>
                  <a:lnTo>
                    <a:pt x="37408" y="92516"/>
                  </a:lnTo>
                  <a:lnTo>
                    <a:pt x="23009" y="92091"/>
                  </a:lnTo>
                  <a:lnTo>
                    <a:pt x="12453" y="87423"/>
                  </a:lnTo>
                  <a:lnTo>
                    <a:pt x="34" y="77705"/>
                  </a:lnTo>
                  <a:lnTo>
                    <a:pt x="600" y="70837"/>
                  </a:lnTo>
                  <a:lnTo>
                    <a:pt x="3278" y="65305"/>
                  </a:lnTo>
                  <a:lnTo>
                    <a:pt x="0" y="60893"/>
                  </a:lnTo>
                  <a:lnTo>
                    <a:pt x="11109" y="41619"/>
                  </a:lnTo>
                  <a:lnTo>
                    <a:pt x="40735" y="41548"/>
                  </a:lnTo>
                  <a:lnTo>
                    <a:pt x="41327" y="33481"/>
                  </a:lnTo>
                  <a:lnTo>
                    <a:pt x="37587" y="32043"/>
                  </a:lnTo>
                  <a:lnTo>
                    <a:pt x="35026" y="26903"/>
                  </a:lnTo>
                  <a:lnTo>
                    <a:pt x="26489" y="21421"/>
                  </a:lnTo>
                  <a:lnTo>
                    <a:pt x="17896" y="13494"/>
                  </a:lnTo>
                  <a:lnTo>
                    <a:pt x="28322" y="13435"/>
                  </a:lnTo>
                  <a:lnTo>
                    <a:pt x="28339" y="41"/>
                  </a:lnTo>
                  <a:lnTo>
                    <a:pt x="49889" y="0"/>
                  </a:lnTo>
                  <a:lnTo>
                    <a:pt x="71237" y="262"/>
                  </a:lnTo>
                  <a:lnTo>
                    <a:pt x="71058" y="19116"/>
                  </a:lnTo>
                  <a:lnTo>
                    <a:pt x="69251" y="45870"/>
                  </a:lnTo>
                  <a:lnTo>
                    <a:pt x="76141" y="45863"/>
                  </a:lnTo>
                  <a:lnTo>
                    <a:pt x="83667" y="50142"/>
                  </a:lnTo>
                  <a:lnTo>
                    <a:pt x="85657" y="46617"/>
                  </a:lnTo>
                  <a:lnTo>
                    <a:pt x="92428" y="49637"/>
                  </a:lnTo>
                  <a:lnTo>
                    <a:pt x="81910" y="58654"/>
                  </a:lnTo>
                  <a:lnTo>
                    <a:pt x="70966" y="65262"/>
                  </a:lnTo>
                  <a:lnTo>
                    <a:pt x="69341" y="69795"/>
                  </a:lnTo>
                  <a:lnTo>
                    <a:pt x="71180" y="74424"/>
                  </a:lnTo>
                  <a:lnTo>
                    <a:pt x="66384" y="80407"/>
                  </a:lnTo>
                  <a:lnTo>
                    <a:pt x="60982" y="81857"/>
                  </a:lnTo>
                  <a:lnTo>
                    <a:pt x="62208" y="84631"/>
                  </a:lnTo>
                  <a:lnTo>
                    <a:pt x="57875" y="87234"/>
                  </a:lnTo>
                  <a:lnTo>
                    <a:pt x="49964" y="9317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8" name="Freeform 16">
              <a:extLst>
                <a:ext uri="{FF2B5EF4-FFF2-40B4-BE49-F238E27FC236}">
                  <a16:creationId xmlns:a16="http://schemas.microsoft.com/office/drawing/2014/main" id="{19F4814F-FE3B-E546-85D5-3904D058D087}"/>
                </a:ext>
              </a:extLst>
            </p:cNvPr>
            <p:cNvSpPr>
              <a:spLocks noChangeAspect="1"/>
            </p:cNvSpPr>
            <p:nvPr>
              <p:custDataLst>
                <p:tags r:id="rId22"/>
              </p:custDataLst>
            </p:nvPr>
          </p:nvSpPr>
          <p:spPr>
            <a:xfrm>
              <a:off x="2943172" y="4334396"/>
              <a:ext cx="112435" cy="164303"/>
            </a:xfrm>
            <a:custGeom>
              <a:avLst/>
              <a:gdLst/>
              <a:ahLst/>
              <a:cxnLst/>
              <a:rect l="0" t="0" r="0" b="0"/>
              <a:pathLst>
                <a:path w="112435" h="164303">
                  <a:moveTo>
                    <a:pt x="38133" y="0"/>
                  </a:moveTo>
                  <a:lnTo>
                    <a:pt x="53289" y="8547"/>
                  </a:lnTo>
                  <a:lnTo>
                    <a:pt x="67571" y="23672"/>
                  </a:lnTo>
                  <a:lnTo>
                    <a:pt x="68220" y="35616"/>
                  </a:lnTo>
                  <a:lnTo>
                    <a:pt x="76917" y="36165"/>
                  </a:lnTo>
                  <a:lnTo>
                    <a:pt x="89286" y="47473"/>
                  </a:lnTo>
                  <a:lnTo>
                    <a:pt x="98399" y="55538"/>
                  </a:lnTo>
                  <a:lnTo>
                    <a:pt x="94710" y="76365"/>
                  </a:lnTo>
                  <a:lnTo>
                    <a:pt x="80698" y="82403"/>
                  </a:lnTo>
                  <a:lnTo>
                    <a:pt x="81946" y="87858"/>
                  </a:lnTo>
                  <a:lnTo>
                    <a:pt x="77688" y="99789"/>
                  </a:lnTo>
                  <a:lnTo>
                    <a:pt x="87916" y="116574"/>
                  </a:lnTo>
                  <a:lnTo>
                    <a:pt x="95306" y="116601"/>
                  </a:lnTo>
                  <a:lnTo>
                    <a:pt x="98337" y="129644"/>
                  </a:lnTo>
                  <a:lnTo>
                    <a:pt x="112434" y="149723"/>
                  </a:lnTo>
                  <a:lnTo>
                    <a:pt x="106818" y="150550"/>
                  </a:lnTo>
                  <a:lnTo>
                    <a:pt x="94050" y="148592"/>
                  </a:lnTo>
                  <a:lnTo>
                    <a:pt x="86545" y="154732"/>
                  </a:lnTo>
                  <a:lnTo>
                    <a:pt x="76100" y="158782"/>
                  </a:lnTo>
                  <a:lnTo>
                    <a:pt x="68806" y="159780"/>
                  </a:lnTo>
                  <a:lnTo>
                    <a:pt x="66254" y="164302"/>
                  </a:lnTo>
                  <a:lnTo>
                    <a:pt x="54924" y="163157"/>
                  </a:lnTo>
                  <a:lnTo>
                    <a:pt x="40724" y="152324"/>
                  </a:lnTo>
                  <a:lnTo>
                    <a:pt x="39051" y="141639"/>
                  </a:lnTo>
                  <a:lnTo>
                    <a:pt x="33142" y="129961"/>
                  </a:lnTo>
                  <a:lnTo>
                    <a:pt x="36815" y="110292"/>
                  </a:lnTo>
                  <a:lnTo>
                    <a:pt x="43217" y="102148"/>
                  </a:lnTo>
                  <a:lnTo>
                    <a:pt x="37923" y="91403"/>
                  </a:lnTo>
                  <a:lnTo>
                    <a:pt x="29992" y="87900"/>
                  </a:lnTo>
                  <a:lnTo>
                    <a:pt x="32993" y="77742"/>
                  </a:lnTo>
                  <a:lnTo>
                    <a:pt x="27621" y="72409"/>
                  </a:lnTo>
                  <a:lnTo>
                    <a:pt x="15621" y="73433"/>
                  </a:lnTo>
                  <a:lnTo>
                    <a:pt x="0" y="55864"/>
                  </a:lnTo>
                  <a:lnTo>
                    <a:pt x="6253" y="49488"/>
                  </a:lnTo>
                  <a:lnTo>
                    <a:pt x="5793" y="38786"/>
                  </a:lnTo>
                  <a:lnTo>
                    <a:pt x="19997" y="35064"/>
                  </a:lnTo>
                  <a:lnTo>
                    <a:pt x="25729" y="30719"/>
                  </a:lnTo>
                  <a:lnTo>
                    <a:pt x="17828" y="22110"/>
                  </a:lnTo>
                  <a:lnTo>
                    <a:pt x="19845" y="1364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9" name="Freeform 17">
              <a:extLst>
                <a:ext uri="{FF2B5EF4-FFF2-40B4-BE49-F238E27FC236}">
                  <a16:creationId xmlns:a16="http://schemas.microsoft.com/office/drawing/2014/main" id="{AA3B9FBF-8ABA-1242-B7E0-931BB769C564}"/>
                </a:ext>
              </a:extLst>
            </p:cNvPr>
            <p:cNvSpPr>
              <a:spLocks noChangeAspect="1"/>
            </p:cNvSpPr>
            <p:nvPr>
              <p:custDataLst>
                <p:tags r:id="rId23"/>
              </p:custDataLst>
            </p:nvPr>
          </p:nvSpPr>
          <p:spPr>
            <a:xfrm>
              <a:off x="2298173" y="4155409"/>
              <a:ext cx="143254" cy="71186"/>
            </a:xfrm>
            <a:custGeom>
              <a:avLst/>
              <a:gdLst/>
              <a:ahLst/>
              <a:cxnLst/>
              <a:rect l="0" t="0" r="0" b="0"/>
              <a:pathLst>
                <a:path w="143254" h="71186">
                  <a:moveTo>
                    <a:pt x="47011" y="71185"/>
                  </a:moveTo>
                  <a:lnTo>
                    <a:pt x="43024" y="63840"/>
                  </a:lnTo>
                  <a:lnTo>
                    <a:pt x="36013" y="61798"/>
                  </a:lnTo>
                  <a:lnTo>
                    <a:pt x="37620" y="52383"/>
                  </a:lnTo>
                  <a:lnTo>
                    <a:pt x="34481" y="49836"/>
                  </a:lnTo>
                  <a:lnTo>
                    <a:pt x="29730" y="48158"/>
                  </a:lnTo>
                  <a:lnTo>
                    <a:pt x="19604" y="50961"/>
                  </a:lnTo>
                  <a:lnTo>
                    <a:pt x="18745" y="47793"/>
                  </a:lnTo>
                  <a:lnTo>
                    <a:pt x="11778" y="44019"/>
                  </a:lnTo>
                  <a:lnTo>
                    <a:pt x="6805" y="39321"/>
                  </a:lnTo>
                  <a:lnTo>
                    <a:pt x="0" y="37340"/>
                  </a:lnTo>
                  <a:lnTo>
                    <a:pt x="4796" y="31357"/>
                  </a:lnTo>
                  <a:lnTo>
                    <a:pt x="2957" y="26728"/>
                  </a:lnTo>
                  <a:lnTo>
                    <a:pt x="4582" y="22195"/>
                  </a:lnTo>
                  <a:lnTo>
                    <a:pt x="15526" y="15587"/>
                  </a:lnTo>
                  <a:lnTo>
                    <a:pt x="26044" y="6570"/>
                  </a:lnTo>
                  <a:lnTo>
                    <a:pt x="28441" y="7494"/>
                  </a:lnTo>
                  <a:lnTo>
                    <a:pt x="33504" y="3336"/>
                  </a:lnTo>
                  <a:lnTo>
                    <a:pt x="40109" y="2996"/>
                  </a:lnTo>
                  <a:lnTo>
                    <a:pt x="42250" y="4925"/>
                  </a:lnTo>
                  <a:lnTo>
                    <a:pt x="45832" y="3750"/>
                  </a:lnTo>
                  <a:lnTo>
                    <a:pt x="56555" y="5884"/>
                  </a:lnTo>
                  <a:lnTo>
                    <a:pt x="67225" y="5266"/>
                  </a:lnTo>
                  <a:lnTo>
                    <a:pt x="74651" y="2650"/>
                  </a:lnTo>
                  <a:lnTo>
                    <a:pt x="77358" y="0"/>
                  </a:lnTo>
                  <a:lnTo>
                    <a:pt x="84713" y="1225"/>
                  </a:lnTo>
                  <a:lnTo>
                    <a:pt x="90237" y="2832"/>
                  </a:lnTo>
                  <a:lnTo>
                    <a:pt x="96275" y="2278"/>
                  </a:lnTo>
                  <a:lnTo>
                    <a:pt x="100862" y="224"/>
                  </a:lnTo>
                  <a:lnTo>
                    <a:pt x="111405" y="3507"/>
                  </a:lnTo>
                  <a:lnTo>
                    <a:pt x="115068" y="4029"/>
                  </a:lnTo>
                  <a:lnTo>
                    <a:pt x="122113" y="8450"/>
                  </a:lnTo>
                  <a:lnTo>
                    <a:pt x="128786" y="13748"/>
                  </a:lnTo>
                  <a:lnTo>
                    <a:pt x="137179" y="17367"/>
                  </a:lnTo>
                  <a:lnTo>
                    <a:pt x="143253" y="23860"/>
                  </a:lnTo>
                  <a:lnTo>
                    <a:pt x="135341" y="23378"/>
                  </a:lnTo>
                  <a:lnTo>
                    <a:pt x="132142" y="26592"/>
                  </a:lnTo>
                  <a:lnTo>
                    <a:pt x="124129" y="29673"/>
                  </a:lnTo>
                  <a:lnTo>
                    <a:pt x="118298" y="29689"/>
                  </a:lnTo>
                  <a:lnTo>
                    <a:pt x="113197" y="32687"/>
                  </a:lnTo>
                  <a:lnTo>
                    <a:pt x="108575" y="31621"/>
                  </a:lnTo>
                  <a:lnTo>
                    <a:pt x="104640" y="28018"/>
                  </a:lnTo>
                  <a:lnTo>
                    <a:pt x="102229" y="28705"/>
                  </a:lnTo>
                  <a:lnTo>
                    <a:pt x="99267" y="34338"/>
                  </a:lnTo>
                  <a:lnTo>
                    <a:pt x="97053" y="34134"/>
                  </a:lnTo>
                  <a:lnTo>
                    <a:pt x="96669" y="38983"/>
                  </a:lnTo>
                  <a:lnTo>
                    <a:pt x="88612" y="45467"/>
                  </a:lnTo>
                  <a:lnTo>
                    <a:pt x="84359" y="48265"/>
                  </a:lnTo>
                  <a:lnTo>
                    <a:pt x="81990" y="51183"/>
                  </a:lnTo>
                  <a:lnTo>
                    <a:pt x="75181" y="46428"/>
                  </a:lnTo>
                  <a:lnTo>
                    <a:pt x="70198" y="52705"/>
                  </a:lnTo>
                  <a:lnTo>
                    <a:pt x="65384" y="52537"/>
                  </a:lnTo>
                  <a:lnTo>
                    <a:pt x="59974" y="53093"/>
                  </a:lnTo>
                  <a:lnTo>
                    <a:pt x="60465" y="64649"/>
                  </a:lnTo>
                  <a:lnTo>
                    <a:pt x="57078" y="64858"/>
                  </a:lnTo>
                  <a:lnTo>
                    <a:pt x="54187" y="7022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20" name="Freeform 18">
              <a:extLst>
                <a:ext uri="{FF2B5EF4-FFF2-40B4-BE49-F238E27FC236}">
                  <a16:creationId xmlns:a16="http://schemas.microsoft.com/office/drawing/2014/main" id="{F846A716-5816-644A-8C2C-077743EB1392}"/>
                </a:ext>
              </a:extLst>
            </p:cNvPr>
            <p:cNvSpPr>
              <a:spLocks noChangeAspect="1"/>
            </p:cNvSpPr>
            <p:nvPr>
              <p:custDataLst>
                <p:tags r:id="rId24"/>
              </p:custDataLst>
            </p:nvPr>
          </p:nvSpPr>
          <p:spPr>
            <a:xfrm>
              <a:off x="2641996" y="4062221"/>
              <a:ext cx="65398" cy="45079"/>
            </a:xfrm>
            <a:custGeom>
              <a:avLst/>
              <a:gdLst/>
              <a:ahLst/>
              <a:cxnLst/>
              <a:rect l="0" t="0" r="0" b="0"/>
              <a:pathLst>
                <a:path w="65398" h="45079">
                  <a:moveTo>
                    <a:pt x="29274" y="0"/>
                  </a:moveTo>
                  <a:lnTo>
                    <a:pt x="43357" y="1061"/>
                  </a:lnTo>
                  <a:lnTo>
                    <a:pt x="63377" y="4829"/>
                  </a:lnTo>
                  <a:lnTo>
                    <a:pt x="65397" y="17878"/>
                  </a:lnTo>
                  <a:lnTo>
                    <a:pt x="63632" y="27072"/>
                  </a:lnTo>
                  <a:lnTo>
                    <a:pt x="58005" y="31099"/>
                  </a:lnTo>
                  <a:lnTo>
                    <a:pt x="63946" y="38266"/>
                  </a:lnTo>
                  <a:lnTo>
                    <a:pt x="63471" y="44745"/>
                  </a:lnTo>
                  <a:lnTo>
                    <a:pt x="48140" y="40692"/>
                  </a:lnTo>
                  <a:lnTo>
                    <a:pt x="37246" y="42346"/>
                  </a:lnTo>
                  <a:lnTo>
                    <a:pt x="23163" y="40622"/>
                  </a:lnTo>
                  <a:lnTo>
                    <a:pt x="12363" y="45078"/>
                  </a:lnTo>
                  <a:lnTo>
                    <a:pt x="0" y="37649"/>
                  </a:lnTo>
                  <a:lnTo>
                    <a:pt x="2034" y="29952"/>
                  </a:lnTo>
                  <a:lnTo>
                    <a:pt x="23279" y="33269"/>
                  </a:lnTo>
                  <a:lnTo>
                    <a:pt x="40697" y="35184"/>
                  </a:lnTo>
                  <a:lnTo>
                    <a:pt x="49008" y="29868"/>
                  </a:lnTo>
                  <a:lnTo>
                    <a:pt x="38464" y="19511"/>
                  </a:lnTo>
                  <a:lnTo>
                    <a:pt x="38639" y="10364"/>
                  </a:lnTo>
                  <a:lnTo>
                    <a:pt x="24075" y="662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21" name="Freeform 19">
              <a:extLst>
                <a:ext uri="{FF2B5EF4-FFF2-40B4-BE49-F238E27FC236}">
                  <a16:creationId xmlns:a16="http://schemas.microsoft.com/office/drawing/2014/main" id="{2A21E5B3-5436-6F47-A4A4-CDF1650A405F}"/>
                </a:ext>
              </a:extLst>
            </p:cNvPr>
            <p:cNvSpPr>
              <a:spLocks noChangeAspect="1"/>
            </p:cNvSpPr>
            <p:nvPr>
              <p:custDataLst>
                <p:tags r:id="rId25"/>
              </p:custDataLst>
            </p:nvPr>
          </p:nvSpPr>
          <p:spPr>
            <a:xfrm>
              <a:off x="2552442" y="4095533"/>
              <a:ext cx="49353" cy="19625"/>
            </a:xfrm>
            <a:custGeom>
              <a:avLst/>
              <a:gdLst/>
              <a:ahLst/>
              <a:cxnLst/>
              <a:rect l="0" t="0" r="0" b="0"/>
              <a:pathLst>
                <a:path w="49353" h="19625">
                  <a:moveTo>
                    <a:pt x="17730" y="805"/>
                  </a:moveTo>
                  <a:lnTo>
                    <a:pt x="33265" y="2945"/>
                  </a:lnTo>
                  <a:lnTo>
                    <a:pt x="45528" y="8674"/>
                  </a:lnTo>
                  <a:lnTo>
                    <a:pt x="49352" y="15201"/>
                  </a:lnTo>
                  <a:lnTo>
                    <a:pt x="33127" y="15644"/>
                  </a:lnTo>
                  <a:lnTo>
                    <a:pt x="26115" y="19624"/>
                  </a:lnTo>
                  <a:lnTo>
                    <a:pt x="13197" y="15802"/>
                  </a:lnTo>
                  <a:lnTo>
                    <a:pt x="0" y="7118"/>
                  </a:lnTo>
                  <a:lnTo>
                    <a:pt x="2770" y="1664"/>
                  </a:lnTo>
                  <a:lnTo>
                    <a:pt x="12473" y="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22" name="Freeform 20">
              <a:extLst>
                <a:ext uri="{FF2B5EF4-FFF2-40B4-BE49-F238E27FC236}">
                  <a16:creationId xmlns:a16="http://schemas.microsoft.com/office/drawing/2014/main" id="{9BC208FB-A92A-B64F-9A37-0A212E146AC7}"/>
                </a:ext>
              </a:extLst>
            </p:cNvPr>
            <p:cNvSpPr>
              <a:spLocks noChangeAspect="1"/>
            </p:cNvSpPr>
            <p:nvPr>
              <p:custDataLst>
                <p:tags r:id="rId26"/>
              </p:custDataLst>
            </p:nvPr>
          </p:nvSpPr>
          <p:spPr>
            <a:xfrm>
              <a:off x="1657064" y="3744951"/>
              <a:ext cx="699770" cy="445097"/>
            </a:xfrm>
            <a:custGeom>
              <a:avLst/>
              <a:gdLst/>
              <a:ahLst/>
              <a:cxnLst/>
              <a:rect l="0" t="0" r="0" b="0"/>
              <a:pathLst>
                <a:path w="699770" h="445097">
                  <a:moveTo>
                    <a:pt x="461371" y="172445"/>
                  </a:moveTo>
                  <a:lnTo>
                    <a:pt x="452414" y="194057"/>
                  </a:lnTo>
                  <a:lnTo>
                    <a:pt x="448377" y="211705"/>
                  </a:lnTo>
                  <a:lnTo>
                    <a:pt x="446690" y="244390"/>
                  </a:lnTo>
                  <a:lnTo>
                    <a:pt x="444466" y="256253"/>
                  </a:lnTo>
                  <a:lnTo>
                    <a:pt x="448467" y="269474"/>
                  </a:lnTo>
                  <a:lnTo>
                    <a:pt x="455625" y="281265"/>
                  </a:lnTo>
                  <a:lnTo>
                    <a:pt x="460233" y="299968"/>
                  </a:lnTo>
                  <a:lnTo>
                    <a:pt x="475554" y="317865"/>
                  </a:lnTo>
                  <a:lnTo>
                    <a:pt x="480943" y="331544"/>
                  </a:lnTo>
                  <a:lnTo>
                    <a:pt x="489973" y="343324"/>
                  </a:lnTo>
                  <a:lnTo>
                    <a:pt x="514483" y="349663"/>
                  </a:lnTo>
                  <a:lnTo>
                    <a:pt x="524024" y="359645"/>
                  </a:lnTo>
                  <a:lnTo>
                    <a:pt x="544269" y="352979"/>
                  </a:lnTo>
                  <a:lnTo>
                    <a:pt x="561871" y="350567"/>
                  </a:lnTo>
                  <a:lnTo>
                    <a:pt x="579154" y="346274"/>
                  </a:lnTo>
                  <a:lnTo>
                    <a:pt x="593684" y="342175"/>
                  </a:lnTo>
                  <a:lnTo>
                    <a:pt x="608365" y="332412"/>
                  </a:lnTo>
                  <a:lnTo>
                    <a:pt x="613865" y="318429"/>
                  </a:lnTo>
                  <a:lnTo>
                    <a:pt x="615760" y="298232"/>
                  </a:lnTo>
                  <a:lnTo>
                    <a:pt x="619750" y="291188"/>
                  </a:lnTo>
                  <a:lnTo>
                    <a:pt x="635384" y="284870"/>
                  </a:lnTo>
                  <a:lnTo>
                    <a:pt x="659793" y="279268"/>
                  </a:lnTo>
                  <a:lnTo>
                    <a:pt x="680232" y="280110"/>
                  </a:lnTo>
                  <a:lnTo>
                    <a:pt x="694232" y="278064"/>
                  </a:lnTo>
                  <a:lnTo>
                    <a:pt x="699769" y="283185"/>
                  </a:lnTo>
                  <a:lnTo>
                    <a:pt x="698986" y="294803"/>
                  </a:lnTo>
                  <a:lnTo>
                    <a:pt x="686582" y="309110"/>
                  </a:lnTo>
                  <a:lnTo>
                    <a:pt x="681094" y="323727"/>
                  </a:lnTo>
                  <a:lnTo>
                    <a:pt x="685348" y="327902"/>
                  </a:lnTo>
                  <a:lnTo>
                    <a:pt x="681890" y="338252"/>
                  </a:lnTo>
                  <a:lnTo>
                    <a:pt x="676105" y="356892"/>
                  </a:lnTo>
                  <a:lnTo>
                    <a:pt x="670254" y="350763"/>
                  </a:lnTo>
                  <a:lnTo>
                    <a:pt x="665421" y="351161"/>
                  </a:lnTo>
                  <a:lnTo>
                    <a:pt x="661034" y="351475"/>
                  </a:lnTo>
                  <a:lnTo>
                    <a:pt x="652765" y="365870"/>
                  </a:lnTo>
                  <a:lnTo>
                    <a:pt x="648575" y="363051"/>
                  </a:lnTo>
                  <a:lnTo>
                    <a:pt x="645781" y="364148"/>
                  </a:lnTo>
                  <a:lnTo>
                    <a:pt x="645962" y="367653"/>
                  </a:lnTo>
                  <a:lnTo>
                    <a:pt x="624614" y="367391"/>
                  </a:lnTo>
                  <a:lnTo>
                    <a:pt x="603064" y="367432"/>
                  </a:lnTo>
                  <a:lnTo>
                    <a:pt x="603047" y="380826"/>
                  </a:lnTo>
                  <a:lnTo>
                    <a:pt x="592621" y="380885"/>
                  </a:lnTo>
                  <a:lnTo>
                    <a:pt x="601214" y="388812"/>
                  </a:lnTo>
                  <a:lnTo>
                    <a:pt x="609751" y="394294"/>
                  </a:lnTo>
                  <a:lnTo>
                    <a:pt x="612312" y="399434"/>
                  </a:lnTo>
                  <a:lnTo>
                    <a:pt x="616052" y="400872"/>
                  </a:lnTo>
                  <a:lnTo>
                    <a:pt x="615460" y="408939"/>
                  </a:lnTo>
                  <a:lnTo>
                    <a:pt x="585834" y="409010"/>
                  </a:lnTo>
                  <a:lnTo>
                    <a:pt x="574725" y="428284"/>
                  </a:lnTo>
                  <a:lnTo>
                    <a:pt x="578003" y="432696"/>
                  </a:lnTo>
                  <a:lnTo>
                    <a:pt x="575325" y="438228"/>
                  </a:lnTo>
                  <a:lnTo>
                    <a:pt x="574759" y="445096"/>
                  </a:lnTo>
                  <a:lnTo>
                    <a:pt x="548636" y="419684"/>
                  </a:lnTo>
                  <a:lnTo>
                    <a:pt x="536733" y="412002"/>
                  </a:lnTo>
                  <a:lnTo>
                    <a:pt x="517886" y="405827"/>
                  </a:lnTo>
                  <a:lnTo>
                    <a:pt x="504992" y="407548"/>
                  </a:lnTo>
                  <a:lnTo>
                    <a:pt x="486453" y="416452"/>
                  </a:lnTo>
                  <a:lnTo>
                    <a:pt x="474818" y="418783"/>
                  </a:lnTo>
                  <a:lnTo>
                    <a:pt x="458518" y="412549"/>
                  </a:lnTo>
                  <a:lnTo>
                    <a:pt x="441219" y="408045"/>
                  </a:lnTo>
                  <a:lnTo>
                    <a:pt x="419645" y="397175"/>
                  </a:lnTo>
                  <a:lnTo>
                    <a:pt x="402340" y="393851"/>
                  </a:lnTo>
                  <a:lnTo>
                    <a:pt x="376208" y="382813"/>
                  </a:lnTo>
                  <a:lnTo>
                    <a:pt x="356897" y="371446"/>
                  </a:lnTo>
                  <a:lnTo>
                    <a:pt x="351070" y="365087"/>
                  </a:lnTo>
                  <a:lnTo>
                    <a:pt x="338153" y="363665"/>
                  </a:lnTo>
                  <a:lnTo>
                    <a:pt x="314543" y="356118"/>
                  </a:lnTo>
                  <a:lnTo>
                    <a:pt x="304928" y="345223"/>
                  </a:lnTo>
                  <a:lnTo>
                    <a:pt x="280126" y="331646"/>
                  </a:lnTo>
                  <a:lnTo>
                    <a:pt x="268561" y="316524"/>
                  </a:lnTo>
                  <a:lnTo>
                    <a:pt x="263059" y="304813"/>
                  </a:lnTo>
                  <a:lnTo>
                    <a:pt x="270760" y="302464"/>
                  </a:lnTo>
                  <a:lnTo>
                    <a:pt x="268385" y="295598"/>
                  </a:lnTo>
                  <a:lnTo>
                    <a:pt x="273692" y="289345"/>
                  </a:lnTo>
                  <a:lnTo>
                    <a:pt x="273806" y="280997"/>
                  </a:lnTo>
                  <a:lnTo>
                    <a:pt x="266019" y="270140"/>
                  </a:lnTo>
                  <a:lnTo>
                    <a:pt x="263936" y="260501"/>
                  </a:lnTo>
                  <a:lnTo>
                    <a:pt x="256196" y="248251"/>
                  </a:lnTo>
                  <a:lnTo>
                    <a:pt x="235854" y="224039"/>
                  </a:lnTo>
                  <a:lnTo>
                    <a:pt x="212645" y="204932"/>
                  </a:lnTo>
                  <a:lnTo>
                    <a:pt x="201417" y="189629"/>
                  </a:lnTo>
                  <a:lnTo>
                    <a:pt x="181605" y="179580"/>
                  </a:lnTo>
                  <a:lnTo>
                    <a:pt x="177360" y="173558"/>
                  </a:lnTo>
                  <a:lnTo>
                    <a:pt x="180879" y="158286"/>
                  </a:lnTo>
                  <a:lnTo>
                    <a:pt x="169111" y="152510"/>
                  </a:lnTo>
                  <a:lnTo>
                    <a:pt x="155486" y="140451"/>
                  </a:lnTo>
                  <a:lnTo>
                    <a:pt x="149732" y="123079"/>
                  </a:lnTo>
                  <a:lnTo>
                    <a:pt x="137316" y="121049"/>
                  </a:lnTo>
                  <a:lnTo>
                    <a:pt x="123912" y="107883"/>
                  </a:lnTo>
                  <a:lnTo>
                    <a:pt x="113095" y="95687"/>
                  </a:lnTo>
                  <a:lnTo>
                    <a:pt x="112088" y="87836"/>
                  </a:lnTo>
                  <a:lnTo>
                    <a:pt x="99675" y="68819"/>
                  </a:lnTo>
                  <a:lnTo>
                    <a:pt x="91499" y="49421"/>
                  </a:lnTo>
                  <a:lnTo>
                    <a:pt x="91848" y="39656"/>
                  </a:lnTo>
                  <a:lnTo>
                    <a:pt x="75155" y="29546"/>
                  </a:lnTo>
                  <a:lnTo>
                    <a:pt x="67449" y="30658"/>
                  </a:lnTo>
                  <a:lnTo>
                    <a:pt x="54275" y="23622"/>
                  </a:lnTo>
                  <a:lnTo>
                    <a:pt x="50576" y="33988"/>
                  </a:lnTo>
                  <a:lnTo>
                    <a:pt x="54395" y="46202"/>
                  </a:lnTo>
                  <a:lnTo>
                    <a:pt x="56642" y="65240"/>
                  </a:lnTo>
                  <a:lnTo>
                    <a:pt x="64558" y="75654"/>
                  </a:lnTo>
                  <a:lnTo>
                    <a:pt x="81687" y="92995"/>
                  </a:lnTo>
                  <a:lnTo>
                    <a:pt x="85492" y="98905"/>
                  </a:lnTo>
                  <a:lnTo>
                    <a:pt x="89002" y="100696"/>
                  </a:lnTo>
                  <a:lnTo>
                    <a:pt x="92048" y="109301"/>
                  </a:lnTo>
                  <a:lnTo>
                    <a:pt x="96150" y="108953"/>
                  </a:lnTo>
                  <a:lnTo>
                    <a:pt x="100783" y="125065"/>
                  </a:lnTo>
                  <a:lnTo>
                    <a:pt x="107793" y="131405"/>
                  </a:lnTo>
                  <a:lnTo>
                    <a:pt x="112709" y="140212"/>
                  </a:lnTo>
                  <a:lnTo>
                    <a:pt x="127215" y="152841"/>
                  </a:lnTo>
                  <a:lnTo>
                    <a:pt x="134874" y="175834"/>
                  </a:lnTo>
                  <a:lnTo>
                    <a:pt x="141727" y="186621"/>
                  </a:lnTo>
                  <a:lnTo>
                    <a:pt x="148139" y="198136"/>
                  </a:lnTo>
                  <a:lnTo>
                    <a:pt x="149408" y="211063"/>
                  </a:lnTo>
                  <a:lnTo>
                    <a:pt x="160538" y="211871"/>
                  </a:lnTo>
                  <a:lnTo>
                    <a:pt x="169794" y="222979"/>
                  </a:lnTo>
                  <a:lnTo>
                    <a:pt x="178168" y="233871"/>
                  </a:lnTo>
                  <a:lnTo>
                    <a:pt x="177607" y="238233"/>
                  </a:lnTo>
                  <a:lnTo>
                    <a:pt x="167893" y="247169"/>
                  </a:lnTo>
                  <a:lnTo>
                    <a:pt x="163803" y="247052"/>
                  </a:lnTo>
                  <a:lnTo>
                    <a:pt x="157717" y="232255"/>
                  </a:lnTo>
                  <a:lnTo>
                    <a:pt x="142611" y="218343"/>
                  </a:lnTo>
                  <a:lnTo>
                    <a:pt x="125967" y="206512"/>
                  </a:lnTo>
                  <a:lnTo>
                    <a:pt x="114161" y="200285"/>
                  </a:lnTo>
                  <a:lnTo>
                    <a:pt x="114924" y="182302"/>
                  </a:lnTo>
                  <a:lnTo>
                    <a:pt x="111421" y="168940"/>
                  </a:lnTo>
                  <a:lnTo>
                    <a:pt x="100421" y="161280"/>
                  </a:lnTo>
                  <a:lnTo>
                    <a:pt x="84554" y="150229"/>
                  </a:lnTo>
                  <a:lnTo>
                    <a:pt x="81506" y="153420"/>
                  </a:lnTo>
                  <a:lnTo>
                    <a:pt x="75684" y="146958"/>
                  </a:lnTo>
                  <a:lnTo>
                    <a:pt x="61447" y="140949"/>
                  </a:lnTo>
                  <a:lnTo>
                    <a:pt x="47842" y="126499"/>
                  </a:lnTo>
                  <a:lnTo>
                    <a:pt x="49524" y="124617"/>
                  </a:lnTo>
                  <a:lnTo>
                    <a:pt x="59032" y="126031"/>
                  </a:lnTo>
                  <a:lnTo>
                    <a:pt x="67596" y="116710"/>
                  </a:lnTo>
                  <a:lnTo>
                    <a:pt x="68458" y="105425"/>
                  </a:lnTo>
                  <a:lnTo>
                    <a:pt x="50688" y="87518"/>
                  </a:lnTo>
                  <a:lnTo>
                    <a:pt x="37143" y="80547"/>
                  </a:lnTo>
                  <a:lnTo>
                    <a:pt x="28632" y="64782"/>
                  </a:lnTo>
                  <a:lnTo>
                    <a:pt x="20069" y="48162"/>
                  </a:lnTo>
                  <a:lnTo>
                    <a:pt x="9377" y="27807"/>
                  </a:lnTo>
                  <a:lnTo>
                    <a:pt x="0" y="4768"/>
                  </a:lnTo>
                  <a:lnTo>
                    <a:pt x="26232" y="2788"/>
                  </a:lnTo>
                  <a:lnTo>
                    <a:pt x="55546" y="0"/>
                  </a:lnTo>
                  <a:lnTo>
                    <a:pt x="53385" y="5027"/>
                  </a:lnTo>
                  <a:lnTo>
                    <a:pt x="88240" y="17493"/>
                  </a:lnTo>
                  <a:lnTo>
                    <a:pt x="140900" y="35485"/>
                  </a:lnTo>
                  <a:lnTo>
                    <a:pt x="186803" y="35302"/>
                  </a:lnTo>
                  <a:lnTo>
                    <a:pt x="205109" y="35294"/>
                  </a:lnTo>
                  <a:lnTo>
                    <a:pt x="205154" y="24764"/>
                  </a:lnTo>
                  <a:lnTo>
                    <a:pt x="245142" y="24773"/>
                  </a:lnTo>
                  <a:lnTo>
                    <a:pt x="253560" y="33823"/>
                  </a:lnTo>
                  <a:lnTo>
                    <a:pt x="265363" y="41874"/>
                  </a:lnTo>
                  <a:lnTo>
                    <a:pt x="279079" y="53047"/>
                  </a:lnTo>
                  <a:lnTo>
                    <a:pt x="286734" y="66276"/>
                  </a:lnTo>
                  <a:lnTo>
                    <a:pt x="292476" y="80154"/>
                  </a:lnTo>
                  <a:lnTo>
                    <a:pt x="304409" y="87756"/>
                  </a:lnTo>
                  <a:lnTo>
                    <a:pt x="323568" y="95296"/>
                  </a:lnTo>
                  <a:lnTo>
                    <a:pt x="338110" y="75412"/>
                  </a:lnTo>
                  <a:lnTo>
                    <a:pt x="356982" y="74926"/>
                  </a:lnTo>
                  <a:lnTo>
                    <a:pt x="373251" y="84971"/>
                  </a:lnTo>
                  <a:lnTo>
                    <a:pt x="384833" y="102167"/>
                  </a:lnTo>
                  <a:lnTo>
                    <a:pt x="392816" y="116835"/>
                  </a:lnTo>
                  <a:lnTo>
                    <a:pt x="406435" y="131051"/>
                  </a:lnTo>
                  <a:lnTo>
                    <a:pt x="411513" y="148448"/>
                  </a:lnTo>
                  <a:lnTo>
                    <a:pt x="417976" y="160091"/>
                  </a:lnTo>
                  <a:lnTo>
                    <a:pt x="435981" y="167754"/>
                  </a:lnTo>
                  <a:lnTo>
                    <a:pt x="452369" y="17318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23" name="Freeform 21">
              <a:extLst>
                <a:ext uri="{FF2B5EF4-FFF2-40B4-BE49-F238E27FC236}">
                  <a16:creationId xmlns:a16="http://schemas.microsoft.com/office/drawing/2014/main" id="{7A66125E-8B7B-8B4B-9DBE-196596C983BC}"/>
                </a:ext>
              </a:extLst>
            </p:cNvPr>
            <p:cNvSpPr>
              <a:spLocks noChangeAspect="1"/>
            </p:cNvSpPr>
            <p:nvPr>
              <p:custDataLst>
                <p:tags r:id="rId27"/>
              </p:custDataLst>
            </p:nvPr>
          </p:nvSpPr>
          <p:spPr>
            <a:xfrm>
              <a:off x="2337063" y="4178787"/>
              <a:ext cx="104364" cy="100649"/>
            </a:xfrm>
            <a:custGeom>
              <a:avLst/>
              <a:gdLst/>
              <a:ahLst/>
              <a:cxnLst/>
              <a:rect l="0" t="0" r="0" b="0"/>
              <a:pathLst>
                <a:path w="104364" h="100649">
                  <a:moveTo>
                    <a:pt x="45149" y="92204"/>
                  </a:moveTo>
                  <a:lnTo>
                    <a:pt x="37163" y="84842"/>
                  </a:lnTo>
                  <a:lnTo>
                    <a:pt x="26375" y="75406"/>
                  </a:lnTo>
                  <a:lnTo>
                    <a:pt x="21294" y="67515"/>
                  </a:lnTo>
                  <a:lnTo>
                    <a:pt x="11564" y="60152"/>
                  </a:lnTo>
                  <a:lnTo>
                    <a:pt x="0" y="49561"/>
                  </a:lnTo>
                  <a:lnTo>
                    <a:pt x="2563" y="45932"/>
                  </a:lnTo>
                  <a:lnTo>
                    <a:pt x="6373" y="49465"/>
                  </a:lnTo>
                  <a:lnTo>
                    <a:pt x="8121" y="47807"/>
                  </a:lnTo>
                  <a:lnTo>
                    <a:pt x="15297" y="46842"/>
                  </a:lnTo>
                  <a:lnTo>
                    <a:pt x="18188" y="41480"/>
                  </a:lnTo>
                  <a:lnTo>
                    <a:pt x="21575" y="41271"/>
                  </a:lnTo>
                  <a:lnTo>
                    <a:pt x="21084" y="29715"/>
                  </a:lnTo>
                  <a:lnTo>
                    <a:pt x="26494" y="29159"/>
                  </a:lnTo>
                  <a:lnTo>
                    <a:pt x="31308" y="29327"/>
                  </a:lnTo>
                  <a:lnTo>
                    <a:pt x="36291" y="23050"/>
                  </a:lnTo>
                  <a:lnTo>
                    <a:pt x="43100" y="27805"/>
                  </a:lnTo>
                  <a:lnTo>
                    <a:pt x="45469" y="24887"/>
                  </a:lnTo>
                  <a:lnTo>
                    <a:pt x="49722" y="22089"/>
                  </a:lnTo>
                  <a:lnTo>
                    <a:pt x="57779" y="15605"/>
                  </a:lnTo>
                  <a:lnTo>
                    <a:pt x="58163" y="10756"/>
                  </a:lnTo>
                  <a:lnTo>
                    <a:pt x="60377" y="10960"/>
                  </a:lnTo>
                  <a:lnTo>
                    <a:pt x="63339" y="5327"/>
                  </a:lnTo>
                  <a:lnTo>
                    <a:pt x="65750" y="4640"/>
                  </a:lnTo>
                  <a:lnTo>
                    <a:pt x="69685" y="8243"/>
                  </a:lnTo>
                  <a:lnTo>
                    <a:pt x="74307" y="9309"/>
                  </a:lnTo>
                  <a:lnTo>
                    <a:pt x="79408" y="6311"/>
                  </a:lnTo>
                  <a:lnTo>
                    <a:pt x="85239" y="6295"/>
                  </a:lnTo>
                  <a:lnTo>
                    <a:pt x="93252" y="3214"/>
                  </a:lnTo>
                  <a:lnTo>
                    <a:pt x="96451" y="0"/>
                  </a:lnTo>
                  <a:lnTo>
                    <a:pt x="104363" y="482"/>
                  </a:lnTo>
                  <a:lnTo>
                    <a:pt x="102378" y="2747"/>
                  </a:lnTo>
                  <a:lnTo>
                    <a:pt x="101202" y="8012"/>
                  </a:lnTo>
                  <a:lnTo>
                    <a:pt x="103557" y="16634"/>
                  </a:lnTo>
                  <a:lnTo>
                    <a:pt x="98240" y="24652"/>
                  </a:lnTo>
                  <a:lnTo>
                    <a:pt x="95762" y="34115"/>
                  </a:lnTo>
                  <a:lnTo>
                    <a:pt x="95015" y="44465"/>
                  </a:lnTo>
                  <a:lnTo>
                    <a:pt x="96254" y="50514"/>
                  </a:lnTo>
                  <a:lnTo>
                    <a:pt x="96836" y="61070"/>
                  </a:lnTo>
                  <a:lnTo>
                    <a:pt x="93309" y="63372"/>
                  </a:lnTo>
                  <a:lnTo>
                    <a:pt x="91151" y="73388"/>
                  </a:lnTo>
                  <a:lnTo>
                    <a:pt x="92738" y="79567"/>
                  </a:lnTo>
                  <a:lnTo>
                    <a:pt x="88015" y="85547"/>
                  </a:lnTo>
                  <a:lnTo>
                    <a:pt x="89089" y="91863"/>
                  </a:lnTo>
                  <a:lnTo>
                    <a:pt x="92628" y="95700"/>
                  </a:lnTo>
                  <a:lnTo>
                    <a:pt x="87101" y="100648"/>
                  </a:lnTo>
                  <a:lnTo>
                    <a:pt x="80289" y="99093"/>
                  </a:lnTo>
                  <a:lnTo>
                    <a:pt x="76463" y="94288"/>
                  </a:lnTo>
                  <a:lnTo>
                    <a:pt x="69142" y="92339"/>
                  </a:lnTo>
                  <a:lnTo>
                    <a:pt x="63835" y="95384"/>
                  </a:lnTo>
                  <a:lnTo>
                    <a:pt x="48627" y="8919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24" name="Freeform 22">
              <a:extLst>
                <a:ext uri="{FF2B5EF4-FFF2-40B4-BE49-F238E27FC236}">
                  <a16:creationId xmlns:a16="http://schemas.microsoft.com/office/drawing/2014/main" id="{C4B87001-0090-AD47-8AFD-085EEF3D0F15}"/>
                </a:ext>
              </a:extLst>
            </p:cNvPr>
            <p:cNvSpPr>
              <a:spLocks noChangeAspect="1"/>
            </p:cNvSpPr>
            <p:nvPr>
              <p:custDataLst>
                <p:tags r:id="rId28"/>
              </p:custDataLst>
            </p:nvPr>
          </p:nvSpPr>
          <p:spPr>
            <a:xfrm>
              <a:off x="2445614" y="4305440"/>
              <a:ext cx="132108" cy="55579"/>
            </a:xfrm>
            <a:custGeom>
              <a:avLst/>
              <a:gdLst/>
              <a:ahLst/>
              <a:cxnLst/>
              <a:rect l="0" t="0" r="0" b="0"/>
              <a:pathLst>
                <a:path w="132108" h="55579">
                  <a:moveTo>
                    <a:pt x="117357" y="55503"/>
                  </a:moveTo>
                  <a:lnTo>
                    <a:pt x="109662" y="48809"/>
                  </a:lnTo>
                  <a:lnTo>
                    <a:pt x="104718" y="36275"/>
                  </a:lnTo>
                  <a:lnTo>
                    <a:pt x="110420" y="30068"/>
                  </a:lnTo>
                  <a:lnTo>
                    <a:pt x="104572" y="28476"/>
                  </a:lnTo>
                  <a:lnTo>
                    <a:pt x="100264" y="20794"/>
                  </a:lnTo>
                  <a:lnTo>
                    <a:pt x="88764" y="14328"/>
                  </a:lnTo>
                  <a:lnTo>
                    <a:pt x="78664" y="15811"/>
                  </a:lnTo>
                  <a:lnTo>
                    <a:pt x="73985" y="23901"/>
                  </a:lnTo>
                  <a:lnTo>
                    <a:pt x="64662" y="29740"/>
                  </a:lnTo>
                  <a:lnTo>
                    <a:pt x="59626" y="30551"/>
                  </a:lnTo>
                  <a:lnTo>
                    <a:pt x="57363" y="35386"/>
                  </a:lnTo>
                  <a:lnTo>
                    <a:pt x="68373" y="47990"/>
                  </a:lnTo>
                  <a:lnTo>
                    <a:pt x="62072" y="50956"/>
                  </a:lnTo>
                  <a:lnTo>
                    <a:pt x="58737" y="54394"/>
                  </a:lnTo>
                  <a:lnTo>
                    <a:pt x="47998" y="55578"/>
                  </a:lnTo>
                  <a:lnTo>
                    <a:pt x="44001" y="41712"/>
                  </a:lnTo>
                  <a:lnTo>
                    <a:pt x="40997" y="45660"/>
                  </a:lnTo>
                  <a:lnTo>
                    <a:pt x="33384" y="44297"/>
                  </a:lnTo>
                  <a:lnTo>
                    <a:pt x="28726" y="34953"/>
                  </a:lnTo>
                  <a:lnTo>
                    <a:pt x="19259" y="33410"/>
                  </a:lnTo>
                  <a:lnTo>
                    <a:pt x="13269" y="30691"/>
                  </a:lnTo>
                  <a:lnTo>
                    <a:pt x="3363" y="30726"/>
                  </a:lnTo>
                  <a:lnTo>
                    <a:pt x="2651" y="35769"/>
                  </a:lnTo>
                  <a:lnTo>
                    <a:pt x="0" y="32256"/>
                  </a:lnTo>
                  <a:lnTo>
                    <a:pt x="1215" y="27644"/>
                  </a:lnTo>
                  <a:lnTo>
                    <a:pt x="3140" y="22930"/>
                  </a:lnTo>
                  <a:lnTo>
                    <a:pt x="2242" y="18721"/>
                  </a:lnTo>
                  <a:lnTo>
                    <a:pt x="5692" y="15966"/>
                  </a:lnTo>
                  <a:lnTo>
                    <a:pt x="892" y="12508"/>
                  </a:lnTo>
                  <a:lnTo>
                    <a:pt x="759" y="3139"/>
                  </a:lnTo>
                  <a:lnTo>
                    <a:pt x="9685" y="1059"/>
                  </a:lnTo>
                  <a:lnTo>
                    <a:pt x="17974" y="9410"/>
                  </a:lnTo>
                  <a:lnTo>
                    <a:pt x="17501" y="14341"/>
                  </a:lnTo>
                  <a:lnTo>
                    <a:pt x="26712" y="15387"/>
                  </a:lnTo>
                  <a:lnTo>
                    <a:pt x="28891" y="13494"/>
                  </a:lnTo>
                  <a:lnTo>
                    <a:pt x="35236" y="19210"/>
                  </a:lnTo>
                  <a:lnTo>
                    <a:pt x="46592" y="17529"/>
                  </a:lnTo>
                  <a:lnTo>
                    <a:pt x="56411" y="11653"/>
                  </a:lnTo>
                  <a:lnTo>
                    <a:pt x="70430" y="6959"/>
                  </a:lnTo>
                  <a:lnTo>
                    <a:pt x="78308" y="0"/>
                  </a:lnTo>
                  <a:lnTo>
                    <a:pt x="91052" y="1366"/>
                  </a:lnTo>
                  <a:lnTo>
                    <a:pt x="90192" y="3657"/>
                  </a:lnTo>
                  <a:lnTo>
                    <a:pt x="103062" y="4452"/>
                  </a:lnTo>
                  <a:lnTo>
                    <a:pt x="113333" y="8473"/>
                  </a:lnTo>
                  <a:lnTo>
                    <a:pt x="120867" y="15474"/>
                  </a:lnTo>
                  <a:lnTo>
                    <a:pt x="129550" y="21901"/>
                  </a:lnTo>
                  <a:lnTo>
                    <a:pt x="126748" y="25301"/>
                  </a:lnTo>
                  <a:lnTo>
                    <a:pt x="132107" y="38987"/>
                  </a:lnTo>
                  <a:lnTo>
                    <a:pt x="127755" y="45889"/>
                  </a:lnTo>
                  <a:lnTo>
                    <a:pt x="120316" y="44222"/>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25" name="Freeform 23">
              <a:extLst>
                <a:ext uri="{FF2B5EF4-FFF2-40B4-BE49-F238E27FC236}">
                  <a16:creationId xmlns:a16="http://schemas.microsoft.com/office/drawing/2014/main" id="{1AFF7CF7-2EFD-EC4F-8DC1-D8CF8C3E5509}"/>
                </a:ext>
              </a:extLst>
            </p:cNvPr>
            <p:cNvSpPr>
              <a:spLocks noChangeAspect="1"/>
            </p:cNvSpPr>
            <p:nvPr>
              <p:custDataLst>
                <p:tags r:id="rId29"/>
              </p:custDataLst>
            </p:nvPr>
          </p:nvSpPr>
          <p:spPr>
            <a:xfrm>
              <a:off x="2481504" y="4529291"/>
              <a:ext cx="294210" cy="426911"/>
            </a:xfrm>
            <a:custGeom>
              <a:avLst/>
              <a:gdLst/>
              <a:ahLst/>
              <a:cxnLst/>
              <a:rect l="0" t="0" r="0" b="0"/>
              <a:pathLst>
                <a:path w="294210" h="426911">
                  <a:moveTo>
                    <a:pt x="272849" y="408611"/>
                  </a:moveTo>
                  <a:lnTo>
                    <a:pt x="266663" y="420822"/>
                  </a:lnTo>
                  <a:lnTo>
                    <a:pt x="254795" y="426910"/>
                  </a:lnTo>
                  <a:lnTo>
                    <a:pt x="231651" y="413224"/>
                  </a:lnTo>
                  <a:lnTo>
                    <a:pt x="229647" y="403460"/>
                  </a:lnTo>
                  <a:lnTo>
                    <a:pt x="183886" y="379625"/>
                  </a:lnTo>
                  <a:lnTo>
                    <a:pt x="142491" y="353751"/>
                  </a:lnTo>
                  <a:lnTo>
                    <a:pt x="124687" y="339207"/>
                  </a:lnTo>
                  <a:lnTo>
                    <a:pt x="115124" y="319755"/>
                  </a:lnTo>
                  <a:lnTo>
                    <a:pt x="118915" y="312981"/>
                  </a:lnTo>
                  <a:lnTo>
                    <a:pt x="99365" y="282192"/>
                  </a:lnTo>
                  <a:lnTo>
                    <a:pt x="76607" y="239068"/>
                  </a:lnTo>
                  <a:lnTo>
                    <a:pt x="54798" y="192708"/>
                  </a:lnTo>
                  <a:lnTo>
                    <a:pt x="45358" y="182120"/>
                  </a:lnTo>
                  <a:lnTo>
                    <a:pt x="38095" y="165024"/>
                  </a:lnTo>
                  <a:lnTo>
                    <a:pt x="20162" y="149889"/>
                  </a:lnTo>
                  <a:lnTo>
                    <a:pt x="3715" y="140508"/>
                  </a:lnTo>
                  <a:lnTo>
                    <a:pt x="11186" y="130171"/>
                  </a:lnTo>
                  <a:lnTo>
                    <a:pt x="0" y="108096"/>
                  </a:lnTo>
                  <a:lnTo>
                    <a:pt x="7185" y="91900"/>
                  </a:lnTo>
                  <a:lnTo>
                    <a:pt x="25584" y="77302"/>
                  </a:lnTo>
                  <a:lnTo>
                    <a:pt x="28321" y="86924"/>
                  </a:lnTo>
                  <a:lnTo>
                    <a:pt x="21736" y="92429"/>
                  </a:lnTo>
                  <a:lnTo>
                    <a:pt x="22360" y="100902"/>
                  </a:lnTo>
                  <a:lnTo>
                    <a:pt x="31901" y="99061"/>
                  </a:lnTo>
                  <a:lnTo>
                    <a:pt x="41225" y="101561"/>
                  </a:lnTo>
                  <a:lnTo>
                    <a:pt x="50912" y="113241"/>
                  </a:lnTo>
                  <a:lnTo>
                    <a:pt x="63963" y="103725"/>
                  </a:lnTo>
                  <a:lnTo>
                    <a:pt x="68331" y="88124"/>
                  </a:lnTo>
                  <a:lnTo>
                    <a:pt x="82475" y="68018"/>
                  </a:lnTo>
                  <a:lnTo>
                    <a:pt x="110233" y="58908"/>
                  </a:lnTo>
                  <a:lnTo>
                    <a:pt x="135402" y="34728"/>
                  </a:lnTo>
                  <a:lnTo>
                    <a:pt x="142587" y="19718"/>
                  </a:lnTo>
                  <a:lnTo>
                    <a:pt x="139367" y="2189"/>
                  </a:lnTo>
                  <a:lnTo>
                    <a:pt x="145521" y="0"/>
                  </a:lnTo>
                  <a:lnTo>
                    <a:pt x="160871" y="10932"/>
                  </a:lnTo>
                  <a:lnTo>
                    <a:pt x="168239" y="21828"/>
                  </a:lnTo>
                  <a:lnTo>
                    <a:pt x="178924" y="27777"/>
                  </a:lnTo>
                  <a:lnTo>
                    <a:pt x="192522" y="51986"/>
                  </a:lnTo>
                  <a:lnTo>
                    <a:pt x="209710" y="54879"/>
                  </a:lnTo>
                  <a:lnTo>
                    <a:pt x="222429" y="48772"/>
                  </a:lnTo>
                  <a:lnTo>
                    <a:pt x="230765" y="52767"/>
                  </a:lnTo>
                  <a:lnTo>
                    <a:pt x="244618" y="50783"/>
                  </a:lnTo>
                  <a:lnTo>
                    <a:pt x="262294" y="61599"/>
                  </a:lnTo>
                  <a:lnTo>
                    <a:pt x="247406" y="85115"/>
                  </a:lnTo>
                  <a:lnTo>
                    <a:pt x="254300" y="85663"/>
                  </a:lnTo>
                  <a:lnTo>
                    <a:pt x="265850" y="97953"/>
                  </a:lnTo>
                  <a:lnTo>
                    <a:pt x="245050" y="96868"/>
                  </a:lnTo>
                  <a:lnTo>
                    <a:pt x="241955" y="100344"/>
                  </a:lnTo>
                  <a:lnTo>
                    <a:pt x="223037" y="104794"/>
                  </a:lnTo>
                  <a:lnTo>
                    <a:pt x="196642" y="120541"/>
                  </a:lnTo>
                  <a:lnTo>
                    <a:pt x="194966" y="131345"/>
                  </a:lnTo>
                  <a:lnTo>
                    <a:pt x="189076" y="139404"/>
                  </a:lnTo>
                  <a:lnTo>
                    <a:pt x="191377" y="151935"/>
                  </a:lnTo>
                  <a:lnTo>
                    <a:pt x="177424" y="158628"/>
                  </a:lnTo>
                  <a:lnTo>
                    <a:pt x="177449" y="168427"/>
                  </a:lnTo>
                  <a:lnTo>
                    <a:pt x="171359" y="172670"/>
                  </a:lnTo>
                  <a:lnTo>
                    <a:pt x="180965" y="193589"/>
                  </a:lnTo>
                  <a:lnTo>
                    <a:pt x="193792" y="207737"/>
                  </a:lnTo>
                  <a:lnTo>
                    <a:pt x="188914" y="217731"/>
                  </a:lnTo>
                  <a:lnTo>
                    <a:pt x="204233" y="219081"/>
                  </a:lnTo>
                  <a:lnTo>
                    <a:pt x="212962" y="231509"/>
                  </a:lnTo>
                  <a:lnTo>
                    <a:pt x="233332" y="232112"/>
                  </a:lnTo>
                  <a:lnTo>
                    <a:pt x="252272" y="218381"/>
                  </a:lnTo>
                  <a:lnTo>
                    <a:pt x="250730" y="253807"/>
                  </a:lnTo>
                  <a:lnTo>
                    <a:pt x="261231" y="256489"/>
                  </a:lnTo>
                  <a:lnTo>
                    <a:pt x="274251" y="252466"/>
                  </a:lnTo>
                  <a:lnTo>
                    <a:pt x="294209" y="290126"/>
                  </a:lnTo>
                  <a:lnTo>
                    <a:pt x="289246" y="298063"/>
                  </a:lnTo>
                  <a:lnTo>
                    <a:pt x="288111" y="314571"/>
                  </a:lnTo>
                  <a:lnTo>
                    <a:pt x="287658" y="334596"/>
                  </a:lnTo>
                  <a:lnTo>
                    <a:pt x="278641" y="346375"/>
                  </a:lnTo>
                  <a:lnTo>
                    <a:pt x="282777" y="355128"/>
                  </a:lnTo>
                  <a:lnTo>
                    <a:pt x="277481" y="363073"/>
                  </a:lnTo>
                  <a:lnTo>
                    <a:pt x="287410" y="38297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26" name="Freeform 24">
              <a:extLst>
                <a:ext uri="{FF2B5EF4-FFF2-40B4-BE49-F238E27FC236}">
                  <a16:creationId xmlns:a16="http://schemas.microsoft.com/office/drawing/2014/main" id="{2699E035-ABB7-B74B-87E0-6467095F658C}"/>
                </a:ext>
              </a:extLst>
            </p:cNvPr>
            <p:cNvSpPr>
              <a:spLocks noChangeAspect="1"/>
            </p:cNvSpPr>
            <p:nvPr>
              <p:custDataLst>
                <p:tags r:id="rId30"/>
              </p:custDataLst>
            </p:nvPr>
          </p:nvSpPr>
          <p:spPr>
            <a:xfrm>
              <a:off x="2913748" y="4979982"/>
              <a:ext cx="193713" cy="200169"/>
            </a:xfrm>
            <a:custGeom>
              <a:avLst/>
              <a:gdLst/>
              <a:ahLst/>
              <a:cxnLst/>
              <a:rect l="0" t="0" r="0" b="0"/>
              <a:pathLst>
                <a:path w="193713" h="200169">
                  <a:moveTo>
                    <a:pt x="0" y="70021"/>
                  </a:moveTo>
                  <a:lnTo>
                    <a:pt x="9091" y="41069"/>
                  </a:lnTo>
                  <a:lnTo>
                    <a:pt x="9674" y="28111"/>
                  </a:lnTo>
                  <a:lnTo>
                    <a:pt x="20745" y="6973"/>
                  </a:lnTo>
                  <a:lnTo>
                    <a:pt x="60972" y="0"/>
                  </a:lnTo>
                  <a:lnTo>
                    <a:pt x="82405" y="339"/>
                  </a:lnTo>
                  <a:lnTo>
                    <a:pt x="103908" y="12603"/>
                  </a:lnTo>
                  <a:lnTo>
                    <a:pt x="104302" y="20007"/>
                  </a:lnTo>
                  <a:lnTo>
                    <a:pt x="111128" y="33382"/>
                  </a:lnTo>
                  <a:lnTo>
                    <a:pt x="109594" y="66172"/>
                  </a:lnTo>
                  <a:lnTo>
                    <a:pt x="133961" y="70824"/>
                  </a:lnTo>
                  <a:lnTo>
                    <a:pt x="143383" y="66077"/>
                  </a:lnTo>
                  <a:lnTo>
                    <a:pt x="158972" y="72638"/>
                  </a:lnTo>
                  <a:lnTo>
                    <a:pt x="163295" y="79887"/>
                  </a:lnTo>
                  <a:lnTo>
                    <a:pt x="165443" y="102192"/>
                  </a:lnTo>
                  <a:lnTo>
                    <a:pt x="168141" y="111589"/>
                  </a:lnTo>
                  <a:lnTo>
                    <a:pt x="176747" y="112673"/>
                  </a:lnTo>
                  <a:lnTo>
                    <a:pt x="185405" y="108723"/>
                  </a:lnTo>
                  <a:lnTo>
                    <a:pt x="193712" y="113156"/>
                  </a:lnTo>
                  <a:lnTo>
                    <a:pt x="193700" y="126613"/>
                  </a:lnTo>
                  <a:lnTo>
                    <a:pt x="190573" y="141130"/>
                  </a:lnTo>
                  <a:lnTo>
                    <a:pt x="186041" y="155338"/>
                  </a:lnTo>
                  <a:lnTo>
                    <a:pt x="182267" y="177151"/>
                  </a:lnTo>
                  <a:lnTo>
                    <a:pt x="161329" y="196169"/>
                  </a:lnTo>
                  <a:lnTo>
                    <a:pt x="143074" y="200168"/>
                  </a:lnTo>
                  <a:lnTo>
                    <a:pt x="117151" y="196370"/>
                  </a:lnTo>
                  <a:lnTo>
                    <a:pt x="93874" y="189603"/>
                  </a:lnTo>
                  <a:lnTo>
                    <a:pt x="116599" y="151996"/>
                  </a:lnTo>
                  <a:lnTo>
                    <a:pt x="113286" y="141134"/>
                  </a:lnTo>
                  <a:lnTo>
                    <a:pt x="89512" y="131534"/>
                  </a:lnTo>
                  <a:lnTo>
                    <a:pt x="61309" y="113444"/>
                  </a:lnTo>
                  <a:lnTo>
                    <a:pt x="42437" y="10972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27" name="Freeform 25">
              <a:extLst>
                <a:ext uri="{FF2B5EF4-FFF2-40B4-BE49-F238E27FC236}">
                  <a16:creationId xmlns:a16="http://schemas.microsoft.com/office/drawing/2014/main" id="{9A54CEE4-DE88-1341-B4D2-7A128C23187B}"/>
                </a:ext>
              </a:extLst>
            </p:cNvPr>
            <p:cNvSpPr>
              <a:spLocks noChangeAspect="1"/>
            </p:cNvSpPr>
            <p:nvPr>
              <p:custDataLst>
                <p:tags r:id="rId31"/>
              </p:custDataLst>
            </p:nvPr>
          </p:nvSpPr>
          <p:spPr>
            <a:xfrm>
              <a:off x="2281040" y="4192749"/>
              <a:ext cx="54754" cy="29988"/>
            </a:xfrm>
            <a:custGeom>
              <a:avLst/>
              <a:gdLst/>
              <a:ahLst/>
              <a:cxnLst/>
              <a:rect l="0" t="0" r="0" b="0"/>
              <a:pathLst>
                <a:path w="54754" h="29988">
                  <a:moveTo>
                    <a:pt x="53146" y="24458"/>
                  </a:moveTo>
                  <a:lnTo>
                    <a:pt x="50584" y="29987"/>
                  </a:lnTo>
                  <a:lnTo>
                    <a:pt x="37215" y="29637"/>
                  </a:lnTo>
                  <a:lnTo>
                    <a:pt x="28907" y="27388"/>
                  </a:lnTo>
                  <a:lnTo>
                    <a:pt x="19362" y="22718"/>
                  </a:lnTo>
                  <a:lnTo>
                    <a:pt x="6536" y="21259"/>
                  </a:lnTo>
                  <a:lnTo>
                    <a:pt x="0" y="16212"/>
                  </a:lnTo>
                  <a:lnTo>
                    <a:pt x="713" y="12763"/>
                  </a:lnTo>
                  <a:lnTo>
                    <a:pt x="8624" y="6827"/>
                  </a:lnTo>
                  <a:lnTo>
                    <a:pt x="12957" y="4224"/>
                  </a:lnTo>
                  <a:lnTo>
                    <a:pt x="11731" y="1450"/>
                  </a:lnTo>
                  <a:lnTo>
                    <a:pt x="17133" y="0"/>
                  </a:lnTo>
                  <a:lnTo>
                    <a:pt x="23938" y="1981"/>
                  </a:lnTo>
                  <a:lnTo>
                    <a:pt x="28911" y="6679"/>
                  </a:lnTo>
                  <a:lnTo>
                    <a:pt x="35878" y="10453"/>
                  </a:lnTo>
                  <a:lnTo>
                    <a:pt x="36737" y="13621"/>
                  </a:lnTo>
                  <a:lnTo>
                    <a:pt x="46863" y="10818"/>
                  </a:lnTo>
                  <a:lnTo>
                    <a:pt x="51614" y="12496"/>
                  </a:lnTo>
                  <a:lnTo>
                    <a:pt x="54753" y="1504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28" name="Freeform 26">
              <a:extLst>
                <a:ext uri="{FF2B5EF4-FFF2-40B4-BE49-F238E27FC236}">
                  <a16:creationId xmlns:a16="http://schemas.microsoft.com/office/drawing/2014/main" id="{4A3A7E95-694E-284C-91CA-CFA4C356B3FA}"/>
                </a:ext>
              </a:extLst>
            </p:cNvPr>
            <p:cNvSpPr>
              <a:spLocks noChangeAspect="1"/>
            </p:cNvSpPr>
            <p:nvPr>
              <p:custDataLst>
                <p:tags r:id="rId32"/>
              </p:custDataLst>
            </p:nvPr>
          </p:nvSpPr>
          <p:spPr>
            <a:xfrm>
              <a:off x="3020860" y="4388726"/>
              <a:ext cx="94331" cy="97285"/>
            </a:xfrm>
            <a:custGeom>
              <a:avLst/>
              <a:gdLst/>
              <a:ahLst/>
              <a:cxnLst/>
              <a:rect l="0" t="0" r="0" b="0"/>
              <a:pathLst>
                <a:path w="94331" h="97285">
                  <a:moveTo>
                    <a:pt x="20711" y="1208"/>
                  </a:moveTo>
                  <a:lnTo>
                    <a:pt x="48366" y="5846"/>
                  </a:lnTo>
                  <a:lnTo>
                    <a:pt x="50849" y="1672"/>
                  </a:lnTo>
                  <a:lnTo>
                    <a:pt x="69512" y="0"/>
                  </a:lnTo>
                  <a:lnTo>
                    <a:pt x="94330" y="6225"/>
                  </a:lnTo>
                  <a:lnTo>
                    <a:pt x="82314" y="26126"/>
                  </a:lnTo>
                  <a:lnTo>
                    <a:pt x="84139" y="41950"/>
                  </a:lnTo>
                  <a:lnTo>
                    <a:pt x="93202" y="55649"/>
                  </a:lnTo>
                  <a:lnTo>
                    <a:pt x="89167" y="65592"/>
                  </a:lnTo>
                  <a:lnTo>
                    <a:pt x="87137" y="76158"/>
                  </a:lnTo>
                  <a:lnTo>
                    <a:pt x="81249" y="85872"/>
                  </a:lnTo>
                  <a:lnTo>
                    <a:pt x="68027" y="80978"/>
                  </a:lnTo>
                  <a:lnTo>
                    <a:pt x="57128" y="83339"/>
                  </a:lnTo>
                  <a:lnTo>
                    <a:pt x="47812" y="81287"/>
                  </a:lnTo>
                  <a:lnTo>
                    <a:pt x="45504" y="87974"/>
                  </a:lnTo>
                  <a:lnTo>
                    <a:pt x="49376" y="92565"/>
                  </a:lnTo>
                  <a:lnTo>
                    <a:pt x="47296" y="97284"/>
                  </a:lnTo>
                  <a:lnTo>
                    <a:pt x="34746" y="95393"/>
                  </a:lnTo>
                  <a:lnTo>
                    <a:pt x="20649" y="75314"/>
                  </a:lnTo>
                  <a:lnTo>
                    <a:pt x="17618" y="62271"/>
                  </a:lnTo>
                  <a:lnTo>
                    <a:pt x="10228" y="62244"/>
                  </a:lnTo>
                  <a:lnTo>
                    <a:pt x="0" y="45459"/>
                  </a:lnTo>
                  <a:lnTo>
                    <a:pt x="4258" y="33528"/>
                  </a:lnTo>
                  <a:lnTo>
                    <a:pt x="3010" y="28073"/>
                  </a:lnTo>
                  <a:lnTo>
                    <a:pt x="17022" y="2203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29" name="Freeform 27">
              <a:extLst>
                <a:ext uri="{FF2B5EF4-FFF2-40B4-BE49-F238E27FC236}">
                  <a16:creationId xmlns:a16="http://schemas.microsoft.com/office/drawing/2014/main" id="{D9966C8E-A90E-024F-95E6-61DAE55C781A}"/>
                </a:ext>
              </a:extLst>
            </p:cNvPr>
            <p:cNvSpPr>
              <a:spLocks noChangeAspect="1"/>
            </p:cNvSpPr>
            <p:nvPr>
              <p:custDataLst>
                <p:tags r:id="rId33"/>
              </p:custDataLst>
            </p:nvPr>
          </p:nvSpPr>
          <p:spPr>
            <a:xfrm>
              <a:off x="2930715" y="4275626"/>
              <a:ext cx="24353" cy="20765"/>
            </a:xfrm>
            <a:custGeom>
              <a:avLst/>
              <a:gdLst/>
              <a:ahLst/>
              <a:cxnLst/>
              <a:rect l="0" t="0" r="0" b="0"/>
              <a:pathLst>
                <a:path w="24353" h="20765">
                  <a:moveTo>
                    <a:pt x="6232" y="3035"/>
                  </a:moveTo>
                  <a:lnTo>
                    <a:pt x="19505" y="0"/>
                  </a:lnTo>
                  <a:lnTo>
                    <a:pt x="24352" y="817"/>
                  </a:lnTo>
                  <a:lnTo>
                    <a:pt x="23429" y="18200"/>
                  </a:lnTo>
                  <a:lnTo>
                    <a:pt x="4155" y="20764"/>
                  </a:lnTo>
                  <a:lnTo>
                    <a:pt x="0" y="18666"/>
                  </a:lnTo>
                  <a:lnTo>
                    <a:pt x="6694" y="1225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30" name="Freeform 28">
              <a:extLst>
                <a:ext uri="{FF2B5EF4-FFF2-40B4-BE49-F238E27FC236}">
                  <a16:creationId xmlns:a16="http://schemas.microsoft.com/office/drawing/2014/main" id="{2771BA20-FAC1-8B47-A70C-FF32ECF23F04}"/>
                </a:ext>
              </a:extLst>
            </p:cNvPr>
            <p:cNvSpPr>
              <a:spLocks noChangeAspect="1"/>
            </p:cNvSpPr>
            <p:nvPr>
              <p:custDataLst>
                <p:tags r:id="rId34"/>
              </p:custDataLst>
            </p:nvPr>
          </p:nvSpPr>
          <p:spPr>
            <a:xfrm>
              <a:off x="3012033" y="5244410"/>
              <a:ext cx="120435" cy="124438"/>
            </a:xfrm>
            <a:custGeom>
              <a:avLst/>
              <a:gdLst/>
              <a:ahLst/>
              <a:cxnLst/>
              <a:rect l="0" t="0" r="0" b="0"/>
              <a:pathLst>
                <a:path w="120435" h="124438">
                  <a:moveTo>
                    <a:pt x="18511" y="2696"/>
                  </a:moveTo>
                  <a:lnTo>
                    <a:pt x="33494" y="0"/>
                  </a:lnTo>
                  <a:lnTo>
                    <a:pt x="56641" y="19602"/>
                  </a:lnTo>
                  <a:lnTo>
                    <a:pt x="65222" y="18861"/>
                  </a:lnTo>
                  <a:lnTo>
                    <a:pt x="88975" y="35169"/>
                  </a:lnTo>
                  <a:lnTo>
                    <a:pt x="107084" y="49294"/>
                  </a:lnTo>
                  <a:lnTo>
                    <a:pt x="120434" y="66756"/>
                  </a:lnTo>
                  <a:lnTo>
                    <a:pt x="110255" y="78977"/>
                  </a:lnTo>
                  <a:lnTo>
                    <a:pt x="116647" y="93622"/>
                  </a:lnTo>
                  <a:lnTo>
                    <a:pt x="106657" y="109941"/>
                  </a:lnTo>
                  <a:lnTo>
                    <a:pt x="80587" y="124437"/>
                  </a:lnTo>
                  <a:lnTo>
                    <a:pt x="63547" y="119215"/>
                  </a:lnTo>
                  <a:lnTo>
                    <a:pt x="51054" y="122013"/>
                  </a:lnTo>
                  <a:lnTo>
                    <a:pt x="29717" y="110817"/>
                  </a:lnTo>
                  <a:lnTo>
                    <a:pt x="14063" y="111653"/>
                  </a:lnTo>
                  <a:lnTo>
                    <a:pt x="0" y="97279"/>
                  </a:lnTo>
                  <a:lnTo>
                    <a:pt x="1788" y="80556"/>
                  </a:lnTo>
                  <a:lnTo>
                    <a:pt x="6796" y="74813"/>
                  </a:lnTo>
                  <a:lnTo>
                    <a:pt x="6570" y="49224"/>
                  </a:lnTo>
                  <a:lnTo>
                    <a:pt x="12745" y="2299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31" name="Freeform 29">
              <a:extLst>
                <a:ext uri="{FF2B5EF4-FFF2-40B4-BE49-F238E27FC236}">
                  <a16:creationId xmlns:a16="http://schemas.microsoft.com/office/drawing/2014/main" id="{8EA76D12-96D3-4A4B-AA29-F56F55EA9F3E}"/>
                </a:ext>
              </a:extLst>
            </p:cNvPr>
            <p:cNvSpPr>
              <a:spLocks noChangeAspect="1"/>
            </p:cNvSpPr>
            <p:nvPr>
              <p:custDataLst>
                <p:tags r:id="rId35"/>
              </p:custDataLst>
            </p:nvPr>
          </p:nvSpPr>
          <p:spPr>
            <a:xfrm>
              <a:off x="395288" y="2512021"/>
              <a:ext cx="2451383" cy="1597290"/>
            </a:xfrm>
            <a:custGeom>
              <a:avLst/>
              <a:gdLst/>
              <a:ahLst/>
              <a:cxnLst/>
              <a:rect l="l" t="t" r="r" b="b"/>
              <a:pathLst>
                <a:path w="2451383" h="1597290">
                  <a:moveTo>
                    <a:pt x="2416535" y="1583598"/>
                  </a:moveTo>
                  <a:lnTo>
                    <a:pt x="2435423" y="1583737"/>
                  </a:lnTo>
                  <a:lnTo>
                    <a:pt x="2447221" y="1585840"/>
                  </a:lnTo>
                  <a:lnTo>
                    <a:pt x="2451383" y="1590580"/>
                  </a:lnTo>
                  <a:lnTo>
                    <a:pt x="2445470" y="1596590"/>
                  </a:lnTo>
                  <a:lnTo>
                    <a:pt x="2428094" y="1596449"/>
                  </a:lnTo>
                  <a:lnTo>
                    <a:pt x="2414608" y="1597290"/>
                  </a:lnTo>
                  <a:lnTo>
                    <a:pt x="2413263" y="1587086"/>
                  </a:lnTo>
                  <a:close/>
                  <a:moveTo>
                    <a:pt x="367708" y="1541755"/>
                  </a:moveTo>
                  <a:lnTo>
                    <a:pt x="369463" y="1542200"/>
                  </a:lnTo>
                  <a:lnTo>
                    <a:pt x="378301" y="1546260"/>
                  </a:lnTo>
                  <a:lnTo>
                    <a:pt x="382401" y="1548343"/>
                  </a:lnTo>
                  <a:lnTo>
                    <a:pt x="386147" y="1551558"/>
                  </a:lnTo>
                  <a:lnTo>
                    <a:pt x="392029" y="1559961"/>
                  </a:lnTo>
                  <a:lnTo>
                    <a:pt x="391474" y="1561289"/>
                  </a:lnTo>
                  <a:lnTo>
                    <a:pt x="382455" y="1566404"/>
                  </a:lnTo>
                  <a:lnTo>
                    <a:pt x="375070" y="1570144"/>
                  </a:lnTo>
                  <a:lnTo>
                    <a:pt x="371699" y="1574145"/>
                  </a:lnTo>
                  <a:lnTo>
                    <a:pt x="365963" y="1570720"/>
                  </a:lnTo>
                  <a:lnTo>
                    <a:pt x="366623" y="1564030"/>
                  </a:lnTo>
                  <a:lnTo>
                    <a:pt x="362805" y="1555304"/>
                  </a:lnTo>
                  <a:lnTo>
                    <a:pt x="363954" y="1552635"/>
                  </a:lnTo>
                  <a:lnTo>
                    <a:pt x="367962" y="1548720"/>
                  </a:lnTo>
                  <a:lnTo>
                    <a:pt x="366369" y="1543997"/>
                  </a:lnTo>
                  <a:close/>
                  <a:moveTo>
                    <a:pt x="350361" y="1523812"/>
                  </a:moveTo>
                  <a:lnTo>
                    <a:pt x="358566" y="1526104"/>
                  </a:lnTo>
                  <a:lnTo>
                    <a:pt x="364601" y="1529800"/>
                  </a:lnTo>
                  <a:lnTo>
                    <a:pt x="362672" y="1532692"/>
                  </a:lnTo>
                  <a:lnTo>
                    <a:pt x="354934" y="1534414"/>
                  </a:lnTo>
                  <a:lnTo>
                    <a:pt x="350958" y="1529343"/>
                  </a:lnTo>
                  <a:lnTo>
                    <a:pt x="348305" y="1527385"/>
                  </a:lnTo>
                  <a:lnTo>
                    <a:pt x="348099" y="1525879"/>
                  </a:lnTo>
                  <a:close/>
                  <a:moveTo>
                    <a:pt x="335641" y="1518816"/>
                  </a:moveTo>
                  <a:lnTo>
                    <a:pt x="346999" y="1519848"/>
                  </a:lnTo>
                  <a:lnTo>
                    <a:pt x="346281" y="1522456"/>
                  </a:lnTo>
                  <a:lnTo>
                    <a:pt x="333912" y="1521755"/>
                  </a:lnTo>
                  <a:close/>
                  <a:moveTo>
                    <a:pt x="317754" y="1506800"/>
                  </a:moveTo>
                  <a:lnTo>
                    <a:pt x="319683" y="1508353"/>
                  </a:lnTo>
                  <a:lnTo>
                    <a:pt x="326349" y="1516340"/>
                  </a:lnTo>
                  <a:lnTo>
                    <a:pt x="325098" y="1517734"/>
                  </a:lnTo>
                  <a:lnTo>
                    <a:pt x="323446" y="1517424"/>
                  </a:lnTo>
                  <a:lnTo>
                    <a:pt x="315412" y="1516575"/>
                  </a:lnTo>
                  <a:lnTo>
                    <a:pt x="312477" y="1511098"/>
                  </a:lnTo>
                  <a:lnTo>
                    <a:pt x="311580" y="1510132"/>
                  </a:lnTo>
                  <a:close/>
                  <a:moveTo>
                    <a:pt x="281491" y="1494228"/>
                  </a:moveTo>
                  <a:lnTo>
                    <a:pt x="286812" y="1494742"/>
                  </a:lnTo>
                  <a:lnTo>
                    <a:pt x="287287" y="1500386"/>
                  </a:lnTo>
                  <a:lnTo>
                    <a:pt x="284549" y="1502783"/>
                  </a:lnTo>
                  <a:lnTo>
                    <a:pt x="276775" y="1498368"/>
                  </a:lnTo>
                  <a:lnTo>
                    <a:pt x="277969" y="1496602"/>
                  </a:lnTo>
                  <a:close/>
                  <a:moveTo>
                    <a:pt x="1776755" y="773070"/>
                  </a:moveTo>
                  <a:lnTo>
                    <a:pt x="1780854" y="789445"/>
                  </a:lnTo>
                  <a:lnTo>
                    <a:pt x="1788030" y="794473"/>
                  </a:lnTo>
                  <a:lnTo>
                    <a:pt x="1804148" y="796297"/>
                  </a:lnTo>
                  <a:lnTo>
                    <a:pt x="1827712" y="801015"/>
                  </a:lnTo>
                  <a:lnTo>
                    <a:pt x="1850102" y="810176"/>
                  </a:lnTo>
                  <a:lnTo>
                    <a:pt x="1868799" y="806338"/>
                  </a:lnTo>
                  <a:lnTo>
                    <a:pt x="1897191" y="814008"/>
                  </a:lnTo>
                  <a:lnTo>
                    <a:pt x="1904741" y="813719"/>
                  </a:lnTo>
                  <a:lnTo>
                    <a:pt x="1925395" y="805365"/>
                  </a:lnTo>
                  <a:lnTo>
                    <a:pt x="1947054" y="816069"/>
                  </a:lnTo>
                  <a:lnTo>
                    <a:pt x="1969624" y="827426"/>
                  </a:lnTo>
                  <a:lnTo>
                    <a:pt x="1988313" y="837172"/>
                  </a:lnTo>
                  <a:lnTo>
                    <a:pt x="2006231" y="846505"/>
                  </a:lnTo>
                  <a:lnTo>
                    <a:pt x="2008467" y="854148"/>
                  </a:lnTo>
                  <a:lnTo>
                    <a:pt x="2013903" y="857002"/>
                  </a:lnTo>
                  <a:lnTo>
                    <a:pt x="2012491" y="859873"/>
                  </a:lnTo>
                  <a:lnTo>
                    <a:pt x="2018682" y="860766"/>
                  </a:lnTo>
                  <a:lnTo>
                    <a:pt x="2023173" y="857769"/>
                  </a:lnTo>
                  <a:lnTo>
                    <a:pt x="2024333" y="864624"/>
                  </a:lnTo>
                  <a:lnTo>
                    <a:pt x="2028975" y="869202"/>
                  </a:lnTo>
                  <a:lnTo>
                    <a:pt x="2035314" y="869202"/>
                  </a:lnTo>
                  <a:lnTo>
                    <a:pt x="2038698" y="872728"/>
                  </a:lnTo>
                  <a:lnTo>
                    <a:pt x="2035852" y="877848"/>
                  </a:lnTo>
                  <a:lnTo>
                    <a:pt x="2059902" y="891321"/>
                  </a:lnTo>
                  <a:lnTo>
                    <a:pt x="2064823" y="917186"/>
                  </a:lnTo>
                  <a:lnTo>
                    <a:pt x="2069442" y="941733"/>
                  </a:lnTo>
                  <a:lnTo>
                    <a:pt x="2062693" y="958312"/>
                  </a:lnTo>
                  <a:lnTo>
                    <a:pt x="2051845" y="973656"/>
                  </a:lnTo>
                  <a:lnTo>
                    <a:pt x="2046766" y="983378"/>
                  </a:lnTo>
                  <a:lnTo>
                    <a:pt x="2046259" y="986270"/>
                  </a:lnTo>
                  <a:lnTo>
                    <a:pt x="2048848" y="990226"/>
                  </a:lnTo>
                  <a:lnTo>
                    <a:pt x="2056690" y="994586"/>
                  </a:lnTo>
                  <a:lnTo>
                    <a:pt x="2062479" y="994586"/>
                  </a:lnTo>
                  <a:lnTo>
                    <a:pt x="2089291" y="979798"/>
                  </a:lnTo>
                  <a:lnTo>
                    <a:pt x="2113073" y="975430"/>
                  </a:lnTo>
                  <a:lnTo>
                    <a:pt x="2143267" y="961566"/>
                  </a:lnTo>
                  <a:lnTo>
                    <a:pt x="2143714" y="958732"/>
                  </a:lnTo>
                  <a:lnTo>
                    <a:pt x="2141636" y="950190"/>
                  </a:lnTo>
                  <a:lnTo>
                    <a:pt x="2137904" y="944678"/>
                  </a:lnTo>
                  <a:lnTo>
                    <a:pt x="2148324" y="940213"/>
                  </a:lnTo>
                  <a:lnTo>
                    <a:pt x="2171000" y="940102"/>
                  </a:lnTo>
                  <a:lnTo>
                    <a:pt x="2192186" y="940109"/>
                  </a:lnTo>
                  <a:lnTo>
                    <a:pt x="2199574" y="929121"/>
                  </a:lnTo>
                  <a:lnTo>
                    <a:pt x="2202459" y="926920"/>
                  </a:lnTo>
                  <a:lnTo>
                    <a:pt x="2226853" y="906486"/>
                  </a:lnTo>
                  <a:lnTo>
                    <a:pt x="2237268" y="901239"/>
                  </a:lnTo>
                  <a:lnTo>
                    <a:pt x="2272334" y="901043"/>
                  </a:lnTo>
                  <a:lnTo>
                    <a:pt x="2314870" y="901019"/>
                  </a:lnTo>
                  <a:lnTo>
                    <a:pt x="2317180" y="893968"/>
                  </a:lnTo>
                  <a:lnTo>
                    <a:pt x="2324570" y="892531"/>
                  </a:lnTo>
                  <a:lnTo>
                    <a:pt x="2334377" y="888098"/>
                  </a:lnTo>
                  <a:lnTo>
                    <a:pt x="2342571" y="875024"/>
                  </a:lnTo>
                  <a:lnTo>
                    <a:pt x="2349612" y="852523"/>
                  </a:lnTo>
                  <a:lnTo>
                    <a:pt x="2367218" y="830518"/>
                  </a:lnTo>
                  <a:lnTo>
                    <a:pt x="2374887" y="838200"/>
                  </a:lnTo>
                  <a:lnTo>
                    <a:pt x="2390365" y="833237"/>
                  </a:lnTo>
                  <a:lnTo>
                    <a:pt x="2400613" y="841661"/>
                  </a:lnTo>
                  <a:lnTo>
                    <a:pt x="2400593" y="881129"/>
                  </a:lnTo>
                  <a:lnTo>
                    <a:pt x="2415687" y="897326"/>
                  </a:lnTo>
                  <a:lnTo>
                    <a:pt x="2419675" y="906678"/>
                  </a:lnTo>
                  <a:lnTo>
                    <a:pt x="2395026" y="920441"/>
                  </a:lnTo>
                  <a:lnTo>
                    <a:pt x="2371309" y="930207"/>
                  </a:lnTo>
                  <a:lnTo>
                    <a:pt x="2346930" y="938553"/>
                  </a:lnTo>
                  <a:lnTo>
                    <a:pt x="2334712" y="955227"/>
                  </a:lnTo>
                  <a:lnTo>
                    <a:pt x="2330801" y="961519"/>
                  </a:lnTo>
                  <a:lnTo>
                    <a:pt x="2330568" y="976298"/>
                  </a:lnTo>
                  <a:lnTo>
                    <a:pt x="2338185" y="990995"/>
                  </a:lnTo>
                  <a:lnTo>
                    <a:pt x="2347765" y="991687"/>
                  </a:lnTo>
                  <a:lnTo>
                    <a:pt x="2345341" y="981575"/>
                  </a:lnTo>
                  <a:lnTo>
                    <a:pt x="2352266" y="987734"/>
                  </a:lnTo>
                  <a:lnTo>
                    <a:pt x="2350418" y="995634"/>
                  </a:lnTo>
                  <a:lnTo>
                    <a:pt x="2334838" y="1000110"/>
                  </a:lnTo>
                  <a:lnTo>
                    <a:pt x="2323750" y="999574"/>
                  </a:lnTo>
                  <a:lnTo>
                    <a:pt x="2306677" y="1004382"/>
                  </a:lnTo>
                  <a:lnTo>
                    <a:pt x="2296636" y="1005759"/>
                  </a:lnTo>
                  <a:lnTo>
                    <a:pt x="2283216" y="1007117"/>
                  </a:lnTo>
                  <a:lnTo>
                    <a:pt x="2263974" y="1015074"/>
                  </a:lnTo>
                  <a:lnTo>
                    <a:pt x="2297877" y="1009899"/>
                  </a:lnTo>
                  <a:lnTo>
                    <a:pt x="2304715" y="1015104"/>
                  </a:lnTo>
                  <a:lnTo>
                    <a:pt x="2272400" y="1023326"/>
                  </a:lnTo>
                  <a:lnTo>
                    <a:pt x="2257696" y="1023380"/>
                  </a:lnTo>
                  <a:lnTo>
                    <a:pt x="2258381" y="1020019"/>
                  </a:lnTo>
                  <a:lnTo>
                    <a:pt x="2251355" y="1027606"/>
                  </a:lnTo>
                  <a:lnTo>
                    <a:pt x="2258148" y="1028860"/>
                  </a:lnTo>
                  <a:lnTo>
                    <a:pt x="2253163" y="1048425"/>
                  </a:lnTo>
                  <a:lnTo>
                    <a:pt x="2236367" y="1069254"/>
                  </a:lnTo>
                  <a:lnTo>
                    <a:pt x="2234650" y="1062318"/>
                  </a:lnTo>
                  <a:lnTo>
                    <a:pt x="2229581" y="1060911"/>
                  </a:lnTo>
                  <a:lnTo>
                    <a:pt x="2222009" y="1054141"/>
                  </a:lnTo>
                  <a:lnTo>
                    <a:pt x="2226811" y="1068702"/>
                  </a:lnTo>
                  <a:lnTo>
                    <a:pt x="2232540" y="1073499"/>
                  </a:lnTo>
                  <a:lnTo>
                    <a:pt x="2232888" y="1083662"/>
                  </a:lnTo>
                  <a:lnTo>
                    <a:pt x="2225485" y="1094080"/>
                  </a:lnTo>
                  <a:lnTo>
                    <a:pt x="2212495" y="1115387"/>
                  </a:lnTo>
                  <a:lnTo>
                    <a:pt x="2210393" y="1114331"/>
                  </a:lnTo>
                  <a:lnTo>
                    <a:pt x="2217531" y="1096180"/>
                  </a:lnTo>
                  <a:lnTo>
                    <a:pt x="2205740" y="1085942"/>
                  </a:lnTo>
                  <a:lnTo>
                    <a:pt x="2203036" y="1063572"/>
                  </a:lnTo>
                  <a:lnTo>
                    <a:pt x="2198588" y="1075234"/>
                  </a:lnTo>
                  <a:lnTo>
                    <a:pt x="2203513" y="1092267"/>
                  </a:lnTo>
                  <a:lnTo>
                    <a:pt x="2188263" y="1088067"/>
                  </a:lnTo>
                  <a:lnTo>
                    <a:pt x="2204153" y="1096691"/>
                  </a:lnTo>
                  <a:lnTo>
                    <a:pt x="2205143" y="1122041"/>
                  </a:lnTo>
                  <a:lnTo>
                    <a:pt x="2211766" y="1123876"/>
                  </a:lnTo>
                  <a:lnTo>
                    <a:pt x="2214161" y="1133042"/>
                  </a:lnTo>
                  <a:lnTo>
                    <a:pt x="2217405" y="1159407"/>
                  </a:lnTo>
                  <a:lnTo>
                    <a:pt x="2202732" y="1178836"/>
                  </a:lnTo>
                  <a:lnTo>
                    <a:pt x="2178854" y="1186569"/>
                  </a:lnTo>
                  <a:lnTo>
                    <a:pt x="2163681" y="1201815"/>
                  </a:lnTo>
                  <a:lnTo>
                    <a:pt x="2152154" y="1203478"/>
                  </a:lnTo>
                  <a:lnTo>
                    <a:pt x="2140467" y="1212991"/>
                  </a:lnTo>
                  <a:lnTo>
                    <a:pt x="2137168" y="1221658"/>
                  </a:lnTo>
                  <a:lnTo>
                    <a:pt x="2111829" y="1238365"/>
                  </a:lnTo>
                  <a:lnTo>
                    <a:pt x="2098818" y="1250572"/>
                  </a:lnTo>
                  <a:lnTo>
                    <a:pt x="2087939" y="1265718"/>
                  </a:lnTo>
                  <a:lnTo>
                    <a:pt x="2084382" y="1283795"/>
                  </a:lnTo>
                  <a:lnTo>
                    <a:pt x="2088460" y="1301384"/>
                  </a:lnTo>
                  <a:lnTo>
                    <a:pt x="2096163" y="1322949"/>
                  </a:lnTo>
                  <a:lnTo>
                    <a:pt x="2106422" y="1340707"/>
                  </a:lnTo>
                  <a:lnTo>
                    <a:pt x="2106551" y="1351512"/>
                  </a:lnTo>
                  <a:lnTo>
                    <a:pt x="2117479" y="1380385"/>
                  </a:lnTo>
                  <a:lnTo>
                    <a:pt x="2116753" y="1397082"/>
                  </a:lnTo>
                  <a:lnTo>
                    <a:pt x="2115748" y="1406687"/>
                  </a:lnTo>
                  <a:lnTo>
                    <a:pt x="2109989" y="1421726"/>
                  </a:lnTo>
                  <a:lnTo>
                    <a:pt x="2103088" y="1424827"/>
                  </a:lnTo>
                  <a:lnTo>
                    <a:pt x="2091729" y="1421846"/>
                  </a:lnTo>
                  <a:lnTo>
                    <a:pt x="2088084" y="1411046"/>
                  </a:lnTo>
                  <a:lnTo>
                    <a:pt x="2079313" y="1405374"/>
                  </a:lnTo>
                  <a:lnTo>
                    <a:pt x="2067079" y="1384105"/>
                  </a:lnTo>
                  <a:lnTo>
                    <a:pt x="2056342" y="1365100"/>
                  </a:lnTo>
                  <a:lnTo>
                    <a:pt x="2052877" y="1355350"/>
                  </a:lnTo>
                  <a:lnTo>
                    <a:pt x="2057615" y="1338757"/>
                  </a:lnTo>
                  <a:lnTo>
                    <a:pt x="2051152" y="1324959"/>
                  </a:lnTo>
                  <a:lnTo>
                    <a:pt x="2033157" y="1303884"/>
                  </a:lnTo>
                  <a:lnTo>
                    <a:pt x="2024146" y="1300007"/>
                  </a:lnTo>
                  <a:lnTo>
                    <a:pt x="2000859" y="1311465"/>
                  </a:lnTo>
                  <a:lnTo>
                    <a:pt x="1996727" y="1310205"/>
                  </a:lnTo>
                  <a:lnTo>
                    <a:pt x="1985526" y="1298424"/>
                  </a:lnTo>
                  <a:lnTo>
                    <a:pt x="1971055" y="1292162"/>
                  </a:lnTo>
                  <a:lnTo>
                    <a:pt x="1944964" y="1295344"/>
                  </a:lnTo>
                  <a:lnTo>
                    <a:pt x="1924479" y="1292545"/>
                  </a:lnTo>
                  <a:lnTo>
                    <a:pt x="1906874" y="1294290"/>
                  </a:lnTo>
                  <a:lnTo>
                    <a:pt x="1897333" y="1298237"/>
                  </a:lnTo>
                  <a:lnTo>
                    <a:pt x="1901490" y="1304954"/>
                  </a:lnTo>
                  <a:lnTo>
                    <a:pt x="1901115" y="1315182"/>
                  </a:lnTo>
                  <a:lnTo>
                    <a:pt x="1906016" y="1320155"/>
                  </a:lnTo>
                  <a:lnTo>
                    <a:pt x="1901617" y="1323461"/>
                  </a:lnTo>
                  <a:lnTo>
                    <a:pt x="1893052" y="1319751"/>
                  </a:lnTo>
                  <a:lnTo>
                    <a:pt x="1884388" y="1324521"/>
                  </a:lnTo>
                  <a:lnTo>
                    <a:pt x="1867640" y="1323740"/>
                  </a:lnTo>
                  <a:lnTo>
                    <a:pt x="1850407" y="1310435"/>
                  </a:lnTo>
                  <a:lnTo>
                    <a:pt x="1830273" y="1313578"/>
                  </a:lnTo>
                  <a:lnTo>
                    <a:pt x="1813484" y="1307742"/>
                  </a:lnTo>
                  <a:lnTo>
                    <a:pt x="1799126" y="1309511"/>
                  </a:lnTo>
                  <a:lnTo>
                    <a:pt x="1779700" y="1315399"/>
                  </a:lnTo>
                  <a:lnTo>
                    <a:pt x="1758689" y="1334030"/>
                  </a:lnTo>
                  <a:lnTo>
                    <a:pt x="1735750" y="1344827"/>
                  </a:lnTo>
                  <a:lnTo>
                    <a:pt x="1723147" y="1356753"/>
                  </a:lnTo>
                  <a:lnTo>
                    <a:pt x="1717838" y="1367963"/>
                  </a:lnTo>
                  <a:lnTo>
                    <a:pt x="1717608" y="1385096"/>
                  </a:lnTo>
                  <a:lnTo>
                    <a:pt x="1718761" y="1396977"/>
                  </a:lnTo>
                  <a:lnTo>
                    <a:pt x="1723147" y="1405374"/>
                  </a:lnTo>
                  <a:lnTo>
                    <a:pt x="1714145" y="1406114"/>
                  </a:lnTo>
                  <a:lnTo>
                    <a:pt x="1697757" y="1400683"/>
                  </a:lnTo>
                  <a:lnTo>
                    <a:pt x="1679752" y="1393020"/>
                  </a:lnTo>
                  <a:lnTo>
                    <a:pt x="1673289" y="1381377"/>
                  </a:lnTo>
                  <a:lnTo>
                    <a:pt x="1668211" y="1363980"/>
                  </a:lnTo>
                  <a:lnTo>
                    <a:pt x="1654592" y="1349764"/>
                  </a:lnTo>
                  <a:lnTo>
                    <a:pt x="1646609" y="1335096"/>
                  </a:lnTo>
                  <a:lnTo>
                    <a:pt x="1635027" y="1317900"/>
                  </a:lnTo>
                  <a:lnTo>
                    <a:pt x="1618758" y="1307855"/>
                  </a:lnTo>
                  <a:lnTo>
                    <a:pt x="1599886" y="1308341"/>
                  </a:lnTo>
                  <a:lnTo>
                    <a:pt x="1585344" y="1328225"/>
                  </a:lnTo>
                  <a:lnTo>
                    <a:pt x="1566185" y="1320685"/>
                  </a:lnTo>
                  <a:lnTo>
                    <a:pt x="1554252" y="1313083"/>
                  </a:lnTo>
                  <a:lnTo>
                    <a:pt x="1548510" y="1299205"/>
                  </a:lnTo>
                  <a:lnTo>
                    <a:pt x="1540855" y="1285976"/>
                  </a:lnTo>
                  <a:lnTo>
                    <a:pt x="1527139" y="1274803"/>
                  </a:lnTo>
                  <a:lnTo>
                    <a:pt x="1515336" y="1266752"/>
                  </a:lnTo>
                  <a:lnTo>
                    <a:pt x="1506918" y="1257702"/>
                  </a:lnTo>
                  <a:lnTo>
                    <a:pt x="1466930" y="1257693"/>
                  </a:lnTo>
                  <a:lnTo>
                    <a:pt x="1466885" y="1268223"/>
                  </a:lnTo>
                  <a:lnTo>
                    <a:pt x="1448579" y="1268231"/>
                  </a:lnTo>
                  <a:lnTo>
                    <a:pt x="1402676" y="1268414"/>
                  </a:lnTo>
                  <a:lnTo>
                    <a:pt x="1350016" y="1250422"/>
                  </a:lnTo>
                  <a:lnTo>
                    <a:pt x="1315161" y="1237956"/>
                  </a:lnTo>
                  <a:lnTo>
                    <a:pt x="1317322" y="1232929"/>
                  </a:lnTo>
                  <a:lnTo>
                    <a:pt x="1288008" y="1235717"/>
                  </a:lnTo>
                  <a:lnTo>
                    <a:pt x="1261776" y="1237697"/>
                  </a:lnTo>
                  <a:lnTo>
                    <a:pt x="1257894" y="1224550"/>
                  </a:lnTo>
                  <a:lnTo>
                    <a:pt x="1242935" y="1209698"/>
                  </a:lnTo>
                  <a:lnTo>
                    <a:pt x="1232165" y="1206599"/>
                  </a:lnTo>
                  <a:lnTo>
                    <a:pt x="1229642" y="1199160"/>
                  </a:lnTo>
                  <a:lnTo>
                    <a:pt x="1216690" y="1197856"/>
                  </a:lnTo>
                  <a:lnTo>
                    <a:pt x="1208430" y="1190826"/>
                  </a:lnTo>
                  <a:lnTo>
                    <a:pt x="1186988" y="1188259"/>
                  </a:lnTo>
                  <a:lnTo>
                    <a:pt x="1181100" y="1184053"/>
                  </a:lnTo>
                  <a:lnTo>
                    <a:pt x="1178296" y="1169731"/>
                  </a:lnTo>
                  <a:lnTo>
                    <a:pt x="1155900" y="1143336"/>
                  </a:lnTo>
                  <a:lnTo>
                    <a:pt x="1136675" y="1106470"/>
                  </a:lnTo>
                  <a:lnTo>
                    <a:pt x="1137493" y="1100287"/>
                  </a:lnTo>
                  <a:lnTo>
                    <a:pt x="1127310" y="1091451"/>
                  </a:lnTo>
                  <a:lnTo>
                    <a:pt x="1109444" y="1068926"/>
                  </a:lnTo>
                  <a:lnTo>
                    <a:pt x="1106259" y="1046857"/>
                  </a:lnTo>
                  <a:lnTo>
                    <a:pt x="1093958" y="1031985"/>
                  </a:lnTo>
                  <a:lnTo>
                    <a:pt x="1099018" y="1009280"/>
                  </a:lnTo>
                  <a:lnTo>
                    <a:pt x="1098214" y="985606"/>
                  </a:lnTo>
                  <a:lnTo>
                    <a:pt x="1090847" y="964292"/>
                  </a:lnTo>
                  <a:lnTo>
                    <a:pt x="1099866" y="937868"/>
                  </a:lnTo>
                  <a:lnTo>
                    <a:pt x="1102673" y="912191"/>
                  </a:lnTo>
                  <a:lnTo>
                    <a:pt x="1105480" y="886279"/>
                  </a:lnTo>
                  <a:lnTo>
                    <a:pt x="1101308" y="847533"/>
                  </a:lnTo>
                  <a:lnTo>
                    <a:pt x="1094014" y="822532"/>
                  </a:lnTo>
                  <a:lnTo>
                    <a:pt x="1087284" y="808865"/>
                  </a:lnTo>
                  <a:lnTo>
                    <a:pt x="1090079" y="803095"/>
                  </a:lnTo>
                  <a:lnTo>
                    <a:pt x="1123459" y="813124"/>
                  </a:lnTo>
                  <a:lnTo>
                    <a:pt x="1135754" y="840797"/>
                  </a:lnTo>
                  <a:lnTo>
                    <a:pt x="1141464" y="833087"/>
                  </a:lnTo>
                  <a:lnTo>
                    <a:pt x="1137771" y="808995"/>
                  </a:lnTo>
                  <a:lnTo>
                    <a:pt x="1129923" y="784684"/>
                  </a:lnTo>
                  <a:lnTo>
                    <a:pt x="1195477" y="784684"/>
                  </a:lnTo>
                  <a:lnTo>
                    <a:pt x="1264005" y="784684"/>
                  </a:lnTo>
                  <a:lnTo>
                    <a:pt x="1286696" y="784684"/>
                  </a:lnTo>
                  <a:lnTo>
                    <a:pt x="1357056" y="784684"/>
                  </a:lnTo>
                  <a:lnTo>
                    <a:pt x="1425150" y="784684"/>
                  </a:lnTo>
                  <a:lnTo>
                    <a:pt x="1494398" y="784684"/>
                  </a:lnTo>
                  <a:lnTo>
                    <a:pt x="1563686" y="784688"/>
                  </a:lnTo>
                  <a:lnTo>
                    <a:pt x="1642127" y="784684"/>
                  </a:lnTo>
                  <a:lnTo>
                    <a:pt x="1721099" y="784663"/>
                  </a:lnTo>
                  <a:lnTo>
                    <a:pt x="1768873" y="784684"/>
                  </a:lnTo>
                  <a:lnTo>
                    <a:pt x="1768941" y="773213"/>
                  </a:lnTo>
                  <a:close/>
                  <a:moveTo>
                    <a:pt x="428469" y="502080"/>
                  </a:moveTo>
                  <a:lnTo>
                    <a:pt x="443795" y="504339"/>
                  </a:lnTo>
                  <a:lnTo>
                    <a:pt x="453574" y="514689"/>
                  </a:lnTo>
                  <a:lnTo>
                    <a:pt x="433603" y="530447"/>
                  </a:lnTo>
                  <a:lnTo>
                    <a:pt x="410549" y="543008"/>
                  </a:lnTo>
                  <a:lnTo>
                    <a:pt x="398746" y="534511"/>
                  </a:lnTo>
                  <a:lnTo>
                    <a:pt x="395178" y="519006"/>
                  </a:lnTo>
                  <a:lnTo>
                    <a:pt x="416142" y="507173"/>
                  </a:lnTo>
                  <a:close/>
                  <a:moveTo>
                    <a:pt x="122876" y="419796"/>
                  </a:moveTo>
                  <a:lnTo>
                    <a:pt x="141189" y="422937"/>
                  </a:lnTo>
                  <a:lnTo>
                    <a:pt x="143388" y="436191"/>
                  </a:lnTo>
                  <a:lnTo>
                    <a:pt x="129225" y="441543"/>
                  </a:lnTo>
                  <a:lnTo>
                    <a:pt x="114092" y="435109"/>
                  </a:lnTo>
                  <a:lnTo>
                    <a:pt x="100083" y="425726"/>
                  </a:lnTo>
                  <a:close/>
                  <a:moveTo>
                    <a:pt x="1372" y="298556"/>
                  </a:moveTo>
                  <a:lnTo>
                    <a:pt x="15619" y="305529"/>
                  </a:lnTo>
                  <a:lnTo>
                    <a:pt x="30007" y="301766"/>
                  </a:lnTo>
                  <a:lnTo>
                    <a:pt x="48672" y="311413"/>
                  </a:lnTo>
                  <a:lnTo>
                    <a:pt x="71595" y="316282"/>
                  </a:lnTo>
                  <a:lnTo>
                    <a:pt x="69690" y="320242"/>
                  </a:lnTo>
                  <a:lnTo>
                    <a:pt x="52205" y="327917"/>
                  </a:lnTo>
                  <a:lnTo>
                    <a:pt x="34637" y="320030"/>
                  </a:lnTo>
                  <a:lnTo>
                    <a:pt x="25846" y="313429"/>
                  </a:lnTo>
                  <a:lnTo>
                    <a:pt x="5495" y="315543"/>
                  </a:lnTo>
                  <a:lnTo>
                    <a:pt x="0" y="312335"/>
                  </a:lnTo>
                  <a:close/>
                  <a:moveTo>
                    <a:pt x="351094" y="0"/>
                  </a:moveTo>
                  <a:lnTo>
                    <a:pt x="386019" y="8900"/>
                  </a:lnTo>
                  <a:lnTo>
                    <a:pt x="402722" y="27896"/>
                  </a:lnTo>
                  <a:lnTo>
                    <a:pt x="412974" y="19771"/>
                  </a:lnTo>
                  <a:lnTo>
                    <a:pt x="451984" y="22293"/>
                  </a:lnTo>
                  <a:lnTo>
                    <a:pt x="450599" y="31930"/>
                  </a:lnTo>
                  <a:lnTo>
                    <a:pt x="485916" y="39023"/>
                  </a:lnTo>
                  <a:lnTo>
                    <a:pt x="509460" y="34853"/>
                  </a:lnTo>
                  <a:lnTo>
                    <a:pt x="558087" y="47998"/>
                  </a:lnTo>
                  <a:lnTo>
                    <a:pt x="602484" y="51892"/>
                  </a:lnTo>
                  <a:lnTo>
                    <a:pt x="620257" y="57266"/>
                  </a:lnTo>
                  <a:lnTo>
                    <a:pt x="650970" y="50547"/>
                  </a:lnTo>
                  <a:lnTo>
                    <a:pt x="685985" y="62955"/>
                  </a:lnTo>
                  <a:lnTo>
                    <a:pt x="711065" y="68706"/>
                  </a:lnTo>
                  <a:lnTo>
                    <a:pt x="710914" y="215563"/>
                  </a:lnTo>
                  <a:lnTo>
                    <a:pt x="710793" y="422493"/>
                  </a:lnTo>
                  <a:lnTo>
                    <a:pt x="733524" y="423518"/>
                  </a:lnTo>
                  <a:lnTo>
                    <a:pt x="756006" y="433088"/>
                  </a:lnTo>
                  <a:lnTo>
                    <a:pt x="772120" y="448143"/>
                  </a:lnTo>
                  <a:lnTo>
                    <a:pt x="792627" y="470546"/>
                  </a:lnTo>
                  <a:lnTo>
                    <a:pt x="815081" y="451506"/>
                  </a:lnTo>
                  <a:lnTo>
                    <a:pt x="838254" y="440397"/>
                  </a:lnTo>
                  <a:lnTo>
                    <a:pt x="850507" y="458111"/>
                  </a:lnTo>
                  <a:lnTo>
                    <a:pt x="866062" y="472035"/>
                  </a:lnTo>
                  <a:lnTo>
                    <a:pt x="887196" y="487267"/>
                  </a:lnTo>
                  <a:lnTo>
                    <a:pt x="901625" y="511298"/>
                  </a:lnTo>
                  <a:lnTo>
                    <a:pt x="925230" y="549001"/>
                  </a:lnTo>
                  <a:lnTo>
                    <a:pt x="964471" y="569767"/>
                  </a:lnTo>
                  <a:lnTo>
                    <a:pt x="965112" y="590176"/>
                  </a:lnTo>
                  <a:lnTo>
                    <a:pt x="952276" y="605660"/>
                  </a:lnTo>
                  <a:lnTo>
                    <a:pt x="939587" y="593591"/>
                  </a:lnTo>
                  <a:lnTo>
                    <a:pt x="919242" y="583312"/>
                  </a:lnTo>
                  <a:lnTo>
                    <a:pt x="912714" y="554963"/>
                  </a:lnTo>
                  <a:lnTo>
                    <a:pt x="882957" y="528362"/>
                  </a:lnTo>
                  <a:lnTo>
                    <a:pt x="870518" y="496919"/>
                  </a:lnTo>
                  <a:lnTo>
                    <a:pt x="848355" y="494750"/>
                  </a:lnTo>
                  <a:lnTo>
                    <a:pt x="811657" y="493928"/>
                  </a:lnTo>
                  <a:lnTo>
                    <a:pt x="784605" y="484244"/>
                  </a:lnTo>
                  <a:lnTo>
                    <a:pt x="736876" y="448977"/>
                  </a:lnTo>
                  <a:lnTo>
                    <a:pt x="714774" y="442468"/>
                  </a:lnTo>
                  <a:lnTo>
                    <a:pt x="674399" y="430173"/>
                  </a:lnTo>
                  <a:lnTo>
                    <a:pt x="642442" y="433117"/>
                  </a:lnTo>
                  <a:lnTo>
                    <a:pt x="597046" y="417211"/>
                  </a:lnTo>
                  <a:lnTo>
                    <a:pt x="569605" y="402359"/>
                  </a:lnTo>
                  <a:lnTo>
                    <a:pt x="543985" y="409750"/>
                  </a:lnTo>
                  <a:lnTo>
                    <a:pt x="548745" y="433836"/>
                  </a:lnTo>
                  <a:lnTo>
                    <a:pt x="535986" y="436047"/>
                  </a:lnTo>
                  <a:lnTo>
                    <a:pt x="509279" y="443219"/>
                  </a:lnTo>
                  <a:lnTo>
                    <a:pt x="488957" y="454777"/>
                  </a:lnTo>
                  <a:lnTo>
                    <a:pt x="463378" y="462021"/>
                  </a:lnTo>
                  <a:lnTo>
                    <a:pt x="460076" y="441868"/>
                  </a:lnTo>
                  <a:lnTo>
                    <a:pt x="470457" y="407908"/>
                  </a:lnTo>
                  <a:lnTo>
                    <a:pt x="494989" y="397143"/>
                  </a:lnTo>
                  <a:lnTo>
                    <a:pt x="488660" y="388331"/>
                  </a:lnTo>
                  <a:lnTo>
                    <a:pt x="459236" y="407860"/>
                  </a:lnTo>
                  <a:lnTo>
                    <a:pt x="443482" y="430960"/>
                  </a:lnTo>
                  <a:lnTo>
                    <a:pt x="410224" y="455390"/>
                  </a:lnTo>
                  <a:lnTo>
                    <a:pt x="427113" y="471912"/>
                  </a:lnTo>
                  <a:lnTo>
                    <a:pt x="405300" y="496137"/>
                  </a:lnTo>
                  <a:lnTo>
                    <a:pt x="380486" y="510135"/>
                  </a:lnTo>
                  <a:lnTo>
                    <a:pt x="357384" y="520281"/>
                  </a:lnTo>
                  <a:lnTo>
                    <a:pt x="351665" y="534932"/>
                  </a:lnTo>
                  <a:lnTo>
                    <a:pt x="315630" y="551900"/>
                  </a:lnTo>
                  <a:lnTo>
                    <a:pt x="308334" y="567221"/>
                  </a:lnTo>
                  <a:lnTo>
                    <a:pt x="281326" y="581085"/>
                  </a:lnTo>
                  <a:lnTo>
                    <a:pt x="265483" y="578597"/>
                  </a:lnTo>
                  <a:lnTo>
                    <a:pt x="243939" y="587606"/>
                  </a:lnTo>
                  <a:lnTo>
                    <a:pt x="220517" y="598563"/>
                  </a:lnTo>
                  <a:lnTo>
                    <a:pt x="201319" y="609274"/>
                  </a:lnTo>
                  <a:lnTo>
                    <a:pt x="161707" y="618382"/>
                  </a:lnTo>
                  <a:lnTo>
                    <a:pt x="158091" y="613026"/>
                  </a:lnTo>
                  <a:lnTo>
                    <a:pt x="183340" y="598073"/>
                  </a:lnTo>
                  <a:lnTo>
                    <a:pt x="205923" y="588144"/>
                  </a:lnTo>
                  <a:lnTo>
                    <a:pt x="230525" y="570444"/>
                  </a:lnTo>
                  <a:lnTo>
                    <a:pt x="259161" y="566769"/>
                  </a:lnTo>
                  <a:lnTo>
                    <a:pt x="270542" y="553391"/>
                  </a:lnTo>
                  <a:lnTo>
                    <a:pt x="302537" y="533721"/>
                  </a:lnTo>
                  <a:lnTo>
                    <a:pt x="307693" y="527104"/>
                  </a:lnTo>
                  <a:lnTo>
                    <a:pt x="324735" y="515390"/>
                  </a:lnTo>
                  <a:lnTo>
                    <a:pt x="328716" y="490026"/>
                  </a:lnTo>
                  <a:lnTo>
                    <a:pt x="340456" y="470075"/>
                  </a:lnTo>
                  <a:lnTo>
                    <a:pt x="313841" y="480336"/>
                  </a:lnTo>
                  <a:lnTo>
                    <a:pt x="306397" y="474520"/>
                  </a:lnTo>
                  <a:lnTo>
                    <a:pt x="293900" y="486799"/>
                  </a:lnTo>
                  <a:lnTo>
                    <a:pt x="278826" y="469651"/>
                  </a:lnTo>
                  <a:lnTo>
                    <a:pt x="272602" y="481797"/>
                  </a:lnTo>
                  <a:lnTo>
                    <a:pt x="263970" y="464904"/>
                  </a:lnTo>
                  <a:lnTo>
                    <a:pt x="240893" y="478476"/>
                  </a:lnTo>
                  <a:lnTo>
                    <a:pt x="226723" y="478448"/>
                  </a:lnTo>
                  <a:lnTo>
                    <a:pt x="224736" y="458235"/>
                  </a:lnTo>
                  <a:lnTo>
                    <a:pt x="228909" y="445691"/>
                  </a:lnTo>
                  <a:lnTo>
                    <a:pt x="214047" y="433443"/>
                  </a:lnTo>
                  <a:lnTo>
                    <a:pt x="184033" y="440044"/>
                  </a:lnTo>
                  <a:lnTo>
                    <a:pt x="164554" y="423842"/>
                  </a:lnTo>
                  <a:lnTo>
                    <a:pt x="148761" y="415512"/>
                  </a:lnTo>
                  <a:lnTo>
                    <a:pt x="148659" y="395729"/>
                  </a:lnTo>
                  <a:lnTo>
                    <a:pt x="130872" y="380728"/>
                  </a:lnTo>
                  <a:lnTo>
                    <a:pt x="139804" y="360321"/>
                  </a:lnTo>
                  <a:lnTo>
                    <a:pt x="158622" y="340329"/>
                  </a:lnTo>
                  <a:lnTo>
                    <a:pt x="166855" y="321775"/>
                  </a:lnTo>
                  <a:lnTo>
                    <a:pt x="185534" y="319121"/>
                  </a:lnTo>
                  <a:lnTo>
                    <a:pt x="201370" y="324928"/>
                  </a:lnTo>
                  <a:lnTo>
                    <a:pt x="219991" y="307367"/>
                  </a:lnTo>
                  <a:lnTo>
                    <a:pt x="236751" y="310512"/>
                  </a:lnTo>
                  <a:lnTo>
                    <a:pt x="254339" y="299158"/>
                  </a:lnTo>
                  <a:lnTo>
                    <a:pt x="250050" y="282336"/>
                  </a:lnTo>
                  <a:lnTo>
                    <a:pt x="237129" y="275669"/>
                  </a:lnTo>
                  <a:lnTo>
                    <a:pt x="254217" y="261308"/>
                  </a:lnTo>
                  <a:lnTo>
                    <a:pt x="240041" y="261732"/>
                  </a:lnTo>
                  <a:lnTo>
                    <a:pt x="215547" y="269850"/>
                  </a:lnTo>
                  <a:lnTo>
                    <a:pt x="208513" y="278049"/>
                  </a:lnTo>
                  <a:lnTo>
                    <a:pt x="190310" y="269860"/>
                  </a:lnTo>
                  <a:lnTo>
                    <a:pt x="157661" y="274031"/>
                  </a:lnTo>
                  <a:lnTo>
                    <a:pt x="123857" y="265112"/>
                  </a:lnTo>
                  <a:lnTo>
                    <a:pt x="114169" y="250061"/>
                  </a:lnTo>
                  <a:lnTo>
                    <a:pt x="84957" y="228125"/>
                  </a:lnTo>
                  <a:lnTo>
                    <a:pt x="117395" y="212189"/>
                  </a:lnTo>
                  <a:lnTo>
                    <a:pt x="168882" y="193430"/>
                  </a:lnTo>
                  <a:lnTo>
                    <a:pt x="187861" y="193430"/>
                  </a:lnTo>
                  <a:lnTo>
                    <a:pt x="184719" y="212614"/>
                  </a:lnTo>
                  <a:lnTo>
                    <a:pt x="233443" y="211126"/>
                  </a:lnTo>
                  <a:lnTo>
                    <a:pt x="214701" y="187289"/>
                  </a:lnTo>
                  <a:lnTo>
                    <a:pt x="186309" y="172496"/>
                  </a:lnTo>
                  <a:lnTo>
                    <a:pt x="169891" y="152913"/>
                  </a:lnTo>
                  <a:lnTo>
                    <a:pt x="147748" y="136060"/>
                  </a:lnTo>
                  <a:lnTo>
                    <a:pt x="116029" y="123476"/>
                  </a:lnTo>
                  <a:lnTo>
                    <a:pt x="128949" y="102436"/>
                  </a:lnTo>
                  <a:lnTo>
                    <a:pt x="169895" y="101124"/>
                  </a:lnTo>
                  <a:lnTo>
                    <a:pt x="199030" y="82645"/>
                  </a:lnTo>
                  <a:lnTo>
                    <a:pt x="204525" y="62703"/>
                  </a:lnTo>
                  <a:lnTo>
                    <a:pt x="228108" y="43045"/>
                  </a:lnTo>
                  <a:lnTo>
                    <a:pt x="250593" y="38286"/>
                  </a:lnTo>
                  <a:lnTo>
                    <a:pt x="294349" y="19702"/>
                  </a:lnTo>
                  <a:lnTo>
                    <a:pt x="315572" y="22514"/>
                  </a:lnTo>
                  <a:close/>
                </a:path>
              </a:pathLst>
            </a:custGeom>
            <a:solidFill>
              <a:schemeClr val="tx2"/>
            </a:solid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32" name="Freeform 30">
              <a:extLst>
                <a:ext uri="{FF2B5EF4-FFF2-40B4-BE49-F238E27FC236}">
                  <a16:creationId xmlns:a16="http://schemas.microsoft.com/office/drawing/2014/main" id="{EC0324BD-EEF6-9542-AEDF-105EB6FE07C6}"/>
                </a:ext>
              </a:extLst>
            </p:cNvPr>
            <p:cNvSpPr>
              <a:spLocks noChangeAspect="1"/>
            </p:cNvSpPr>
            <p:nvPr>
              <p:custDataLst>
                <p:tags r:id="rId36"/>
              </p:custDataLst>
            </p:nvPr>
          </p:nvSpPr>
          <p:spPr>
            <a:xfrm>
              <a:off x="2668612" y="4245873"/>
              <a:ext cx="312694" cy="265376"/>
            </a:xfrm>
            <a:custGeom>
              <a:avLst/>
              <a:gdLst/>
              <a:ahLst/>
              <a:cxnLst/>
              <a:rect l="0" t="0" r="0" b="0"/>
              <a:pathLst>
                <a:path w="312694" h="265376">
                  <a:moveTo>
                    <a:pt x="45551" y="9036"/>
                  </a:moveTo>
                  <a:lnTo>
                    <a:pt x="44894" y="14563"/>
                  </a:lnTo>
                  <a:lnTo>
                    <a:pt x="31344" y="17292"/>
                  </a:lnTo>
                  <a:lnTo>
                    <a:pt x="38873" y="27897"/>
                  </a:lnTo>
                  <a:lnTo>
                    <a:pt x="38592" y="40105"/>
                  </a:lnTo>
                  <a:lnTo>
                    <a:pt x="28410" y="53648"/>
                  </a:lnTo>
                  <a:lnTo>
                    <a:pt x="37147" y="72123"/>
                  </a:lnTo>
                  <a:lnTo>
                    <a:pt x="47098" y="70612"/>
                  </a:lnTo>
                  <a:lnTo>
                    <a:pt x="52281" y="53780"/>
                  </a:lnTo>
                  <a:lnTo>
                    <a:pt x="45124" y="45576"/>
                  </a:lnTo>
                  <a:lnTo>
                    <a:pt x="43957" y="27909"/>
                  </a:lnTo>
                  <a:lnTo>
                    <a:pt x="72702" y="18410"/>
                  </a:lnTo>
                  <a:lnTo>
                    <a:pt x="69504" y="7386"/>
                  </a:lnTo>
                  <a:lnTo>
                    <a:pt x="77597" y="0"/>
                  </a:lnTo>
                  <a:lnTo>
                    <a:pt x="85883" y="16443"/>
                  </a:lnTo>
                  <a:lnTo>
                    <a:pt x="102071" y="16823"/>
                  </a:lnTo>
                  <a:lnTo>
                    <a:pt x="117068" y="29852"/>
                  </a:lnTo>
                  <a:lnTo>
                    <a:pt x="117971" y="37581"/>
                  </a:lnTo>
                  <a:lnTo>
                    <a:pt x="138697" y="37786"/>
                  </a:lnTo>
                  <a:lnTo>
                    <a:pt x="163358" y="35388"/>
                  </a:lnTo>
                  <a:lnTo>
                    <a:pt x="176576" y="45836"/>
                  </a:lnTo>
                  <a:lnTo>
                    <a:pt x="194229" y="48717"/>
                  </a:lnTo>
                  <a:lnTo>
                    <a:pt x="207178" y="41432"/>
                  </a:lnTo>
                  <a:lnTo>
                    <a:pt x="207443" y="35556"/>
                  </a:lnTo>
                  <a:lnTo>
                    <a:pt x="236035" y="34149"/>
                  </a:lnTo>
                  <a:lnTo>
                    <a:pt x="263697" y="33824"/>
                  </a:lnTo>
                  <a:lnTo>
                    <a:pt x="244095" y="40717"/>
                  </a:lnTo>
                  <a:lnTo>
                    <a:pt x="251981" y="51724"/>
                  </a:lnTo>
                  <a:lnTo>
                    <a:pt x="270441" y="53475"/>
                  </a:lnTo>
                  <a:lnTo>
                    <a:pt x="287942" y="64929"/>
                  </a:lnTo>
                  <a:lnTo>
                    <a:pt x="291620" y="83569"/>
                  </a:lnTo>
                  <a:lnTo>
                    <a:pt x="303649" y="83044"/>
                  </a:lnTo>
                  <a:lnTo>
                    <a:pt x="312693" y="88523"/>
                  </a:lnTo>
                  <a:lnTo>
                    <a:pt x="294405" y="102169"/>
                  </a:lnTo>
                  <a:lnTo>
                    <a:pt x="292388" y="110633"/>
                  </a:lnTo>
                  <a:lnTo>
                    <a:pt x="300289" y="119242"/>
                  </a:lnTo>
                  <a:lnTo>
                    <a:pt x="294557" y="123587"/>
                  </a:lnTo>
                  <a:lnTo>
                    <a:pt x="280353" y="127309"/>
                  </a:lnTo>
                  <a:lnTo>
                    <a:pt x="280813" y="138011"/>
                  </a:lnTo>
                  <a:lnTo>
                    <a:pt x="274560" y="144387"/>
                  </a:lnTo>
                  <a:lnTo>
                    <a:pt x="290181" y="161956"/>
                  </a:lnTo>
                  <a:lnTo>
                    <a:pt x="293237" y="168485"/>
                  </a:lnTo>
                  <a:lnTo>
                    <a:pt x="284796" y="177314"/>
                  </a:lnTo>
                  <a:lnTo>
                    <a:pt x="258977" y="185970"/>
                  </a:lnTo>
                  <a:lnTo>
                    <a:pt x="242378" y="189558"/>
                  </a:lnTo>
                  <a:lnTo>
                    <a:pt x="235715" y="195023"/>
                  </a:lnTo>
                  <a:lnTo>
                    <a:pt x="217360" y="189244"/>
                  </a:lnTo>
                  <a:lnTo>
                    <a:pt x="200272" y="186286"/>
                  </a:lnTo>
                  <a:lnTo>
                    <a:pt x="195946" y="188414"/>
                  </a:lnTo>
                  <a:lnTo>
                    <a:pt x="206277" y="194407"/>
                  </a:lnTo>
                  <a:lnTo>
                    <a:pt x="205346" y="209900"/>
                  </a:lnTo>
                  <a:lnTo>
                    <a:pt x="208551" y="224448"/>
                  </a:lnTo>
                  <a:lnTo>
                    <a:pt x="228105" y="226433"/>
                  </a:lnTo>
                  <a:lnTo>
                    <a:pt x="229353" y="231287"/>
                  </a:lnTo>
                  <a:lnTo>
                    <a:pt x="212865" y="237857"/>
                  </a:lnTo>
                  <a:lnTo>
                    <a:pt x="210183" y="247636"/>
                  </a:lnTo>
                  <a:lnTo>
                    <a:pt x="200679" y="251425"/>
                  </a:lnTo>
                  <a:lnTo>
                    <a:pt x="183513" y="256815"/>
                  </a:lnTo>
                  <a:lnTo>
                    <a:pt x="179045" y="263879"/>
                  </a:lnTo>
                  <a:lnTo>
                    <a:pt x="161098" y="265375"/>
                  </a:lnTo>
                  <a:lnTo>
                    <a:pt x="148390" y="253165"/>
                  </a:lnTo>
                  <a:lnTo>
                    <a:pt x="141350" y="230138"/>
                  </a:lnTo>
                  <a:lnTo>
                    <a:pt x="135215" y="222063"/>
                  </a:lnTo>
                  <a:lnTo>
                    <a:pt x="126840" y="216972"/>
                  </a:lnTo>
                  <a:lnTo>
                    <a:pt x="138537" y="205471"/>
                  </a:lnTo>
                  <a:lnTo>
                    <a:pt x="137743" y="200297"/>
                  </a:lnTo>
                  <a:lnTo>
                    <a:pt x="131181" y="193430"/>
                  </a:lnTo>
                  <a:lnTo>
                    <a:pt x="126538" y="178066"/>
                  </a:lnTo>
                  <a:lnTo>
                    <a:pt x="128346" y="161473"/>
                  </a:lnTo>
                  <a:lnTo>
                    <a:pt x="133497" y="153701"/>
                  </a:lnTo>
                  <a:lnTo>
                    <a:pt x="137654" y="141228"/>
                  </a:lnTo>
                  <a:lnTo>
                    <a:pt x="129491" y="137246"/>
                  </a:lnTo>
                  <a:lnTo>
                    <a:pt x="116334" y="139889"/>
                  </a:lnTo>
                  <a:lnTo>
                    <a:pt x="99709" y="138648"/>
                  </a:lnTo>
                  <a:lnTo>
                    <a:pt x="90379" y="141126"/>
                  </a:lnTo>
                  <a:lnTo>
                    <a:pt x="74133" y="121180"/>
                  </a:lnTo>
                  <a:lnTo>
                    <a:pt x="60724" y="118225"/>
                  </a:lnTo>
                  <a:lnTo>
                    <a:pt x="31041" y="120455"/>
                  </a:lnTo>
                  <a:lnTo>
                    <a:pt x="25543" y="112363"/>
                  </a:lnTo>
                  <a:lnTo>
                    <a:pt x="19862" y="110429"/>
                  </a:lnTo>
                  <a:lnTo>
                    <a:pt x="19050" y="105585"/>
                  </a:lnTo>
                  <a:lnTo>
                    <a:pt x="21791" y="96990"/>
                  </a:lnTo>
                  <a:lnTo>
                    <a:pt x="19968" y="87635"/>
                  </a:lnTo>
                  <a:lnTo>
                    <a:pt x="14876" y="82520"/>
                  </a:lnTo>
                  <a:lnTo>
                    <a:pt x="11916" y="71826"/>
                  </a:lnTo>
                  <a:lnTo>
                    <a:pt x="0" y="70268"/>
                  </a:lnTo>
                  <a:lnTo>
                    <a:pt x="6402" y="56651"/>
                  </a:lnTo>
                  <a:lnTo>
                    <a:pt x="9225" y="40015"/>
                  </a:lnTo>
                  <a:lnTo>
                    <a:pt x="15934" y="31342"/>
                  </a:lnTo>
                  <a:lnTo>
                    <a:pt x="24869" y="24645"/>
                  </a:lnTo>
                  <a:lnTo>
                    <a:pt x="30724" y="1295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33" name="Freeform 31">
              <a:extLst>
                <a:ext uri="{FF2B5EF4-FFF2-40B4-BE49-F238E27FC236}">
                  <a16:creationId xmlns:a16="http://schemas.microsoft.com/office/drawing/2014/main" id="{6B2CAF54-DD8E-0142-9171-CEF62A11A097}"/>
                </a:ext>
              </a:extLst>
            </p:cNvPr>
            <p:cNvSpPr>
              <a:spLocks noChangeAspect="1"/>
            </p:cNvSpPr>
            <p:nvPr>
              <p:custDataLst>
                <p:tags r:id="rId37"/>
              </p:custDataLst>
            </p:nvPr>
          </p:nvSpPr>
          <p:spPr>
            <a:xfrm>
              <a:off x="4547425" y="3022083"/>
              <a:ext cx="106181" cy="95686"/>
            </a:xfrm>
            <a:custGeom>
              <a:avLst/>
              <a:gdLst>
                <a:gd name="connsiteX0" fmla="*/ 98815 w 106181"/>
                <a:gd name="connsiteY0" fmla="*/ 53343 h 95686"/>
                <a:gd name="connsiteX1" fmla="*/ 106181 w 106181"/>
                <a:gd name="connsiteY1" fmla="*/ 69623 h 95686"/>
                <a:gd name="connsiteX2" fmla="*/ 92331 w 106181"/>
                <a:gd name="connsiteY2" fmla="*/ 95686 h 95686"/>
                <a:gd name="connsiteX3" fmla="*/ 68176 w 106181"/>
                <a:gd name="connsiteY3" fmla="*/ 77541 h 95686"/>
                <a:gd name="connsiteX4" fmla="*/ 64953 w 106181"/>
                <a:gd name="connsiteY4" fmla="*/ 64117 h 95686"/>
                <a:gd name="connsiteX5" fmla="*/ 57476 w 106181"/>
                <a:gd name="connsiteY5" fmla="*/ 0 h 95686"/>
                <a:gd name="connsiteX6" fmla="*/ 56694 w 106181"/>
                <a:gd name="connsiteY6" fmla="*/ 17082 h 95686"/>
                <a:gd name="connsiteX7" fmla="*/ 49859 w 106181"/>
                <a:gd name="connsiteY7" fmla="*/ 27836 h 95686"/>
                <a:gd name="connsiteX8" fmla="*/ 52629 w 106181"/>
                <a:gd name="connsiteY8" fmla="*/ 37042 h 95686"/>
                <a:gd name="connsiteX9" fmla="*/ 65144 w 106181"/>
                <a:gd name="connsiteY9" fmla="*/ 42003 h 95686"/>
                <a:gd name="connsiteX10" fmla="*/ 59503 w 106181"/>
                <a:gd name="connsiteY10" fmla="*/ 54321 h 95686"/>
                <a:gd name="connsiteX11" fmla="*/ 52629 w 106181"/>
                <a:gd name="connsiteY11" fmla="*/ 50781 h 95686"/>
                <a:gd name="connsiteX12" fmla="*/ 36009 w 106181"/>
                <a:gd name="connsiteY12" fmla="*/ 74148 h 95686"/>
                <a:gd name="connsiteX13" fmla="*/ 42286 w 106181"/>
                <a:gd name="connsiteY13" fmla="*/ 89820 h 95686"/>
                <a:gd name="connsiteX14" fmla="*/ 27516 w 106181"/>
                <a:gd name="connsiteY14" fmla="*/ 94699 h 95686"/>
                <a:gd name="connsiteX15" fmla="*/ 10070 w 106181"/>
                <a:gd name="connsiteY15" fmla="*/ 90473 h 95686"/>
                <a:gd name="connsiteX16" fmla="*/ 700 w 106181"/>
                <a:gd name="connsiteY16" fmla="*/ 72606 h 95686"/>
                <a:gd name="connsiteX17" fmla="*/ 0 w 106181"/>
                <a:gd name="connsiteY17" fmla="*/ 39337 h 95686"/>
                <a:gd name="connsiteX18" fmla="*/ 3846 w 106181"/>
                <a:gd name="connsiteY18" fmla="*/ 30471 h 95686"/>
                <a:gd name="connsiteX19" fmla="*/ 10467 w 106181"/>
                <a:gd name="connsiteY19" fmla="*/ 20578 h 95686"/>
                <a:gd name="connsiteX20" fmla="*/ 30803 w 106181"/>
                <a:gd name="connsiteY20" fmla="*/ 18527 h 95686"/>
                <a:gd name="connsiteX21" fmla="*/ 38907 w 106181"/>
                <a:gd name="connsiteY21" fmla="*/ 9385 h 9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34" name="Freeform 32">
              <a:extLst>
                <a:ext uri="{FF2B5EF4-FFF2-40B4-BE49-F238E27FC236}">
                  <a16:creationId xmlns:a16="http://schemas.microsoft.com/office/drawing/2014/main" id="{559D13FD-7C78-E143-B994-F708A5991D1F}"/>
                </a:ext>
              </a:extLst>
            </p:cNvPr>
            <p:cNvSpPr>
              <a:spLocks noChangeAspect="1"/>
            </p:cNvSpPr>
            <p:nvPr>
              <p:custDataLst>
                <p:tags r:id="rId38"/>
              </p:custDataLst>
            </p:nvPr>
          </p:nvSpPr>
          <p:spPr>
            <a:xfrm>
              <a:off x="4185901" y="2991710"/>
              <a:ext cx="213600" cy="276243"/>
            </a:xfrm>
            <a:custGeom>
              <a:avLst/>
              <a:gdLst>
                <a:gd name="connsiteX0" fmla="*/ 19350 w 213600"/>
                <a:gd name="connsiteY0" fmla="*/ 114098 h 276243"/>
                <a:gd name="connsiteX1" fmla="*/ 44092 w 213600"/>
                <a:gd name="connsiteY1" fmla="*/ 133901 h 276243"/>
                <a:gd name="connsiteX2" fmla="*/ 31722 w 213600"/>
                <a:gd name="connsiteY2" fmla="*/ 155717 h 276243"/>
                <a:gd name="connsiteX3" fmla="*/ 14275 w 213600"/>
                <a:gd name="connsiteY3" fmla="*/ 149192 h 276243"/>
                <a:gd name="connsiteX4" fmla="*/ 0 w 213600"/>
                <a:gd name="connsiteY4" fmla="*/ 149628 h 276243"/>
                <a:gd name="connsiteX5" fmla="*/ 4758 w 213600"/>
                <a:gd name="connsiteY5" fmla="*/ 132586 h 276243"/>
                <a:gd name="connsiteX6" fmla="*/ 0 w 213600"/>
                <a:gd name="connsiteY6" fmla="*/ 115424 h 276243"/>
                <a:gd name="connsiteX7" fmla="*/ 105422 w 213600"/>
                <a:gd name="connsiteY7" fmla="*/ 0 h 276243"/>
                <a:gd name="connsiteX8" fmla="*/ 80751 w 213600"/>
                <a:gd name="connsiteY8" fmla="*/ 36267 h 276243"/>
                <a:gd name="connsiteX9" fmla="*/ 104268 w 213600"/>
                <a:gd name="connsiteY9" fmla="*/ 31707 h 276243"/>
                <a:gd name="connsiteX10" fmla="*/ 129560 w 213600"/>
                <a:gd name="connsiteY10" fmla="*/ 31881 h 276243"/>
                <a:gd name="connsiteX11" fmla="*/ 123542 w 213600"/>
                <a:gd name="connsiteY11" fmla="*/ 58869 h 276243"/>
                <a:gd name="connsiteX12" fmla="*/ 102791 w 213600"/>
                <a:gd name="connsiteY12" fmla="*/ 88196 h 276243"/>
                <a:gd name="connsiteX13" fmla="*/ 126658 w 213600"/>
                <a:gd name="connsiteY13" fmla="*/ 90270 h 276243"/>
                <a:gd name="connsiteX14" fmla="*/ 128489 w 213600"/>
                <a:gd name="connsiteY14" fmla="*/ 93682 h 276243"/>
                <a:gd name="connsiteX15" fmla="*/ 149048 w 213600"/>
                <a:gd name="connsiteY15" fmla="*/ 131655 h 276243"/>
                <a:gd name="connsiteX16" fmla="*/ 164849 w 213600"/>
                <a:gd name="connsiteY16" fmla="*/ 136778 h 276243"/>
                <a:gd name="connsiteX17" fmla="*/ 179055 w 213600"/>
                <a:gd name="connsiteY17" fmla="*/ 172807 h 276243"/>
                <a:gd name="connsiteX18" fmla="*/ 185634 w 213600"/>
                <a:gd name="connsiteY18" fmla="*/ 185174 h 276243"/>
                <a:gd name="connsiteX19" fmla="*/ 213600 w 213600"/>
                <a:gd name="connsiteY19" fmla="*/ 191116 h 276243"/>
                <a:gd name="connsiteX20" fmla="*/ 210794 w 213600"/>
                <a:gd name="connsiteY20" fmla="*/ 210960 h 276243"/>
                <a:gd name="connsiteX21" fmla="*/ 199035 w 213600"/>
                <a:gd name="connsiteY21" fmla="*/ 220006 h 276243"/>
                <a:gd name="connsiteX22" fmla="*/ 208252 w 213600"/>
                <a:gd name="connsiteY22" fmla="*/ 235886 h 276243"/>
                <a:gd name="connsiteX23" fmla="*/ 187489 w 213600"/>
                <a:gd name="connsiteY23" fmla="*/ 251860 h 276243"/>
                <a:gd name="connsiteX24" fmla="*/ 156608 w 213600"/>
                <a:gd name="connsiteY24" fmla="*/ 251579 h 276243"/>
                <a:gd name="connsiteX25" fmla="*/ 117310 w 213600"/>
                <a:gd name="connsiteY25" fmla="*/ 259927 h 276243"/>
                <a:gd name="connsiteX26" fmla="*/ 106547 w 213600"/>
                <a:gd name="connsiteY26" fmla="*/ 253953 h 276243"/>
                <a:gd name="connsiteX27" fmla="*/ 91285 w 213600"/>
                <a:gd name="connsiteY27" fmla="*/ 268149 h 276243"/>
                <a:gd name="connsiteX28" fmla="*/ 69932 w 213600"/>
                <a:gd name="connsiteY28" fmla="*/ 264717 h 276243"/>
                <a:gd name="connsiteX29" fmla="*/ 53716 w 213600"/>
                <a:gd name="connsiteY29" fmla="*/ 276243 h 276243"/>
                <a:gd name="connsiteX30" fmla="*/ 41447 w 213600"/>
                <a:gd name="connsiteY30" fmla="*/ 270223 h 276243"/>
                <a:gd name="connsiteX31" fmla="*/ 75299 w 213600"/>
                <a:gd name="connsiteY31" fmla="*/ 238316 h 276243"/>
                <a:gd name="connsiteX32" fmla="*/ 95962 w 213600"/>
                <a:gd name="connsiteY32" fmla="*/ 231704 h 276243"/>
                <a:gd name="connsiteX33" fmla="*/ 95780 w 213600"/>
                <a:gd name="connsiteY33" fmla="*/ 231678 h 276243"/>
                <a:gd name="connsiteX34" fmla="*/ 59733 w 213600"/>
                <a:gd name="connsiteY34" fmla="*/ 226566 h 276243"/>
                <a:gd name="connsiteX35" fmla="*/ 53202 w 213600"/>
                <a:gd name="connsiteY35" fmla="*/ 214314 h 276243"/>
                <a:gd name="connsiteX36" fmla="*/ 77322 w 213600"/>
                <a:gd name="connsiteY36" fmla="*/ 204729 h 276243"/>
                <a:gd name="connsiteX37" fmla="*/ 64681 w 213600"/>
                <a:gd name="connsiteY37" fmla="*/ 187983 h 276243"/>
                <a:gd name="connsiteX38" fmla="*/ 69067 w 213600"/>
                <a:gd name="connsiteY38" fmla="*/ 167465 h 276243"/>
                <a:gd name="connsiteX39" fmla="*/ 103372 w 213600"/>
                <a:gd name="connsiteY39" fmla="*/ 170309 h 276243"/>
                <a:gd name="connsiteX40" fmla="*/ 103412 w 213600"/>
                <a:gd name="connsiteY40" fmla="*/ 170312 h 276243"/>
                <a:gd name="connsiteX41" fmla="*/ 106807 w 213600"/>
                <a:gd name="connsiteY41" fmla="*/ 152002 h 276243"/>
                <a:gd name="connsiteX42" fmla="*/ 91348 w 213600"/>
                <a:gd name="connsiteY42" fmla="*/ 132423 h 276243"/>
                <a:gd name="connsiteX43" fmla="*/ 90995 w 213600"/>
                <a:gd name="connsiteY43" fmla="*/ 131974 h 276243"/>
                <a:gd name="connsiteX44" fmla="*/ 62969 w 213600"/>
                <a:gd name="connsiteY44" fmla="*/ 126350 h 276243"/>
                <a:gd name="connsiteX45" fmla="*/ 57467 w 213600"/>
                <a:gd name="connsiteY45" fmla="*/ 117674 h 276243"/>
                <a:gd name="connsiteX46" fmla="*/ 65856 w 213600"/>
                <a:gd name="connsiteY46" fmla="*/ 103279 h 276243"/>
                <a:gd name="connsiteX47" fmla="*/ 58265 w 213600"/>
                <a:gd name="connsiteY47" fmla="*/ 94360 h 276243"/>
                <a:gd name="connsiteX48" fmla="*/ 45836 w 213600"/>
                <a:gd name="connsiteY48" fmla="*/ 109646 h 276243"/>
                <a:gd name="connsiteX49" fmla="*/ 44484 w 213600"/>
                <a:gd name="connsiteY49" fmla="*/ 78380 h 276243"/>
                <a:gd name="connsiteX50" fmla="*/ 32828 w 213600"/>
                <a:gd name="connsiteY50" fmla="*/ 61666 h 276243"/>
                <a:gd name="connsiteX51" fmla="*/ 41210 w 213600"/>
                <a:gd name="connsiteY51" fmla="*/ 27410 h 276243"/>
                <a:gd name="connsiteX52" fmla="*/ 59141 w 213600"/>
                <a:gd name="connsiteY52" fmla="*/ 169 h 276243"/>
                <a:gd name="connsiteX53" fmla="*/ 77573 w 213600"/>
                <a:gd name="connsiteY53" fmla="*/ 2842 h 27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solidFill>
              <a:schemeClr val="tx2"/>
            </a:solid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35" name="Freeform 33">
              <a:extLst>
                <a:ext uri="{FF2B5EF4-FFF2-40B4-BE49-F238E27FC236}">
                  <a16:creationId xmlns:a16="http://schemas.microsoft.com/office/drawing/2014/main" id="{63174AFA-593C-BC47-8692-D01E5BDACBFC}"/>
                </a:ext>
              </a:extLst>
            </p:cNvPr>
            <p:cNvSpPr>
              <a:spLocks noChangeAspect="1"/>
            </p:cNvSpPr>
            <p:nvPr>
              <p:custDataLst>
                <p:tags r:id="rId39"/>
              </p:custDataLst>
            </p:nvPr>
          </p:nvSpPr>
          <p:spPr>
            <a:xfrm>
              <a:off x="5757845" y="3593478"/>
              <a:ext cx="337691" cy="238008"/>
            </a:xfrm>
            <a:custGeom>
              <a:avLst/>
              <a:gdLst/>
              <a:ahLst/>
              <a:cxnLst/>
              <a:rect l="0" t="0" r="0" b="0"/>
              <a:pathLst>
                <a:path w="337691" h="238008">
                  <a:moveTo>
                    <a:pt x="15751" y="75342"/>
                  </a:moveTo>
                  <a:lnTo>
                    <a:pt x="39291" y="85295"/>
                  </a:lnTo>
                  <a:lnTo>
                    <a:pt x="56696" y="81800"/>
                  </a:lnTo>
                  <a:lnTo>
                    <a:pt x="61518" y="69897"/>
                  </a:lnTo>
                  <a:lnTo>
                    <a:pt x="79738" y="65927"/>
                  </a:lnTo>
                  <a:lnTo>
                    <a:pt x="92747" y="57907"/>
                  </a:lnTo>
                  <a:lnTo>
                    <a:pt x="97355" y="36724"/>
                  </a:lnTo>
                  <a:lnTo>
                    <a:pt x="116810" y="31581"/>
                  </a:lnTo>
                  <a:lnTo>
                    <a:pt x="120426" y="22095"/>
                  </a:lnTo>
                  <a:lnTo>
                    <a:pt x="131316" y="29223"/>
                  </a:lnTo>
                  <a:lnTo>
                    <a:pt x="138269" y="30049"/>
                  </a:lnTo>
                  <a:lnTo>
                    <a:pt x="151130" y="30226"/>
                  </a:lnTo>
                  <a:lnTo>
                    <a:pt x="168539" y="35842"/>
                  </a:lnTo>
                  <a:lnTo>
                    <a:pt x="175592" y="39080"/>
                  </a:lnTo>
                  <a:lnTo>
                    <a:pt x="192302" y="30540"/>
                  </a:lnTo>
                  <a:lnTo>
                    <a:pt x="200077" y="35679"/>
                  </a:lnTo>
                  <a:lnTo>
                    <a:pt x="207521" y="23487"/>
                  </a:lnTo>
                  <a:lnTo>
                    <a:pt x="221320" y="24041"/>
                  </a:lnTo>
                  <a:lnTo>
                    <a:pt x="224874" y="20120"/>
                  </a:lnTo>
                  <a:lnTo>
                    <a:pt x="227315" y="9334"/>
                  </a:lnTo>
                  <a:lnTo>
                    <a:pt x="237252" y="0"/>
                  </a:lnTo>
                  <a:lnTo>
                    <a:pt x="249747" y="6103"/>
                  </a:lnTo>
                  <a:lnTo>
                    <a:pt x="247238" y="14290"/>
                  </a:lnTo>
                  <a:lnTo>
                    <a:pt x="254220" y="15560"/>
                  </a:lnTo>
                  <a:lnTo>
                    <a:pt x="252068" y="37950"/>
                  </a:lnTo>
                  <a:lnTo>
                    <a:pt x="261208" y="46637"/>
                  </a:lnTo>
                  <a:lnTo>
                    <a:pt x="269250" y="41066"/>
                  </a:lnTo>
                  <a:lnTo>
                    <a:pt x="279495" y="38431"/>
                  </a:lnTo>
                  <a:lnTo>
                    <a:pt x="293879" y="26520"/>
                  </a:lnTo>
                  <a:lnTo>
                    <a:pt x="309775" y="28483"/>
                  </a:lnTo>
                  <a:lnTo>
                    <a:pt x="333580" y="28525"/>
                  </a:lnTo>
                  <a:lnTo>
                    <a:pt x="337690" y="36160"/>
                  </a:lnTo>
                  <a:lnTo>
                    <a:pt x="324253" y="39140"/>
                  </a:lnTo>
                  <a:lnTo>
                    <a:pt x="312519" y="44040"/>
                  </a:lnTo>
                  <a:lnTo>
                    <a:pt x="286031" y="47118"/>
                  </a:lnTo>
                  <a:lnTo>
                    <a:pt x="261246" y="52678"/>
                  </a:lnTo>
                  <a:lnTo>
                    <a:pt x="247767" y="64177"/>
                  </a:lnTo>
                  <a:lnTo>
                    <a:pt x="253225" y="75329"/>
                  </a:lnTo>
                  <a:lnTo>
                    <a:pt x="255863" y="88371"/>
                  </a:lnTo>
                  <a:lnTo>
                    <a:pt x="244367" y="99348"/>
                  </a:lnTo>
                  <a:lnTo>
                    <a:pt x="245330" y="109358"/>
                  </a:lnTo>
                  <a:lnTo>
                    <a:pt x="238983" y="118714"/>
                  </a:lnTo>
                  <a:lnTo>
                    <a:pt x="217026" y="117903"/>
                  </a:lnTo>
                  <a:lnTo>
                    <a:pt x="226098" y="135035"/>
                  </a:lnTo>
                  <a:lnTo>
                    <a:pt x="211407" y="141566"/>
                  </a:lnTo>
                  <a:lnTo>
                    <a:pt x="201606" y="157099"/>
                  </a:lnTo>
                  <a:lnTo>
                    <a:pt x="202881" y="172491"/>
                  </a:lnTo>
                  <a:lnTo>
                    <a:pt x="193854" y="179677"/>
                  </a:lnTo>
                  <a:lnTo>
                    <a:pt x="185319" y="177299"/>
                  </a:lnTo>
                  <a:lnTo>
                    <a:pt x="167678" y="180628"/>
                  </a:lnTo>
                  <a:lnTo>
                    <a:pt x="165155" y="187763"/>
                  </a:lnTo>
                  <a:lnTo>
                    <a:pt x="147970" y="187718"/>
                  </a:lnTo>
                  <a:lnTo>
                    <a:pt x="135103" y="202112"/>
                  </a:lnTo>
                  <a:lnTo>
                    <a:pt x="134296" y="223656"/>
                  </a:lnTo>
                  <a:lnTo>
                    <a:pt x="104297" y="234140"/>
                  </a:lnTo>
                  <a:lnTo>
                    <a:pt x="88221" y="231927"/>
                  </a:lnTo>
                  <a:lnTo>
                    <a:pt x="83549" y="237447"/>
                  </a:lnTo>
                  <a:lnTo>
                    <a:pt x="69752" y="234238"/>
                  </a:lnTo>
                  <a:lnTo>
                    <a:pt x="46660" y="238007"/>
                  </a:lnTo>
                  <a:lnTo>
                    <a:pt x="7982" y="225138"/>
                  </a:lnTo>
                  <a:lnTo>
                    <a:pt x="28918" y="202190"/>
                  </a:lnTo>
                  <a:lnTo>
                    <a:pt x="27027" y="185817"/>
                  </a:lnTo>
                  <a:lnTo>
                    <a:pt x="9545" y="181518"/>
                  </a:lnTo>
                  <a:lnTo>
                    <a:pt x="7738" y="165283"/>
                  </a:lnTo>
                  <a:lnTo>
                    <a:pt x="176" y="144769"/>
                  </a:lnTo>
                  <a:lnTo>
                    <a:pt x="10047" y="130633"/>
                  </a:lnTo>
                  <a:lnTo>
                    <a:pt x="0" y="126812"/>
                  </a:lnTo>
                  <a:lnTo>
                    <a:pt x="6342" y="107922"/>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36" name="Freeform 34">
              <a:extLst>
                <a:ext uri="{FF2B5EF4-FFF2-40B4-BE49-F238E27FC236}">
                  <a16:creationId xmlns:a16="http://schemas.microsoft.com/office/drawing/2014/main" id="{AB69E811-1F05-3743-9B17-E4F98BA600B5}"/>
                </a:ext>
              </a:extLst>
            </p:cNvPr>
            <p:cNvSpPr>
              <a:spLocks noChangeAspect="1"/>
            </p:cNvSpPr>
            <p:nvPr>
              <p:custDataLst>
                <p:tags r:id="rId40"/>
              </p:custDataLst>
            </p:nvPr>
          </p:nvSpPr>
          <p:spPr>
            <a:xfrm>
              <a:off x="4629371" y="4630477"/>
              <a:ext cx="287144" cy="315772"/>
            </a:xfrm>
            <a:custGeom>
              <a:avLst/>
              <a:gdLst/>
              <a:ahLst/>
              <a:cxnLst/>
              <a:rect l="l" t="t" r="r" b="b"/>
              <a:pathLst>
                <a:path w="287144" h="315772">
                  <a:moveTo>
                    <a:pt x="40060" y="33006"/>
                  </a:moveTo>
                  <a:lnTo>
                    <a:pt x="108175" y="33313"/>
                  </a:lnTo>
                  <a:lnTo>
                    <a:pt x="113869" y="50579"/>
                  </a:lnTo>
                  <a:lnTo>
                    <a:pt x="120494" y="64486"/>
                  </a:lnTo>
                  <a:lnTo>
                    <a:pt x="125798" y="71990"/>
                  </a:lnTo>
                  <a:lnTo>
                    <a:pt x="134638" y="84132"/>
                  </a:lnTo>
                  <a:lnTo>
                    <a:pt x="149902" y="82253"/>
                  </a:lnTo>
                  <a:lnTo>
                    <a:pt x="157518" y="78986"/>
                  </a:lnTo>
                  <a:lnTo>
                    <a:pt x="170273" y="82266"/>
                  </a:lnTo>
                  <a:lnTo>
                    <a:pt x="173732" y="76459"/>
                  </a:lnTo>
                  <a:lnTo>
                    <a:pt x="179523" y="62934"/>
                  </a:lnTo>
                  <a:lnTo>
                    <a:pt x="193840" y="62028"/>
                  </a:lnTo>
                  <a:lnTo>
                    <a:pt x="195084" y="58009"/>
                  </a:lnTo>
                  <a:lnTo>
                    <a:pt x="206861" y="57922"/>
                  </a:lnTo>
                  <a:lnTo>
                    <a:pt x="204851" y="66280"/>
                  </a:lnTo>
                  <a:lnTo>
                    <a:pt x="232859" y="66077"/>
                  </a:lnTo>
                  <a:lnTo>
                    <a:pt x="233282" y="80683"/>
                  </a:lnTo>
                  <a:lnTo>
                    <a:pt x="237960" y="89646"/>
                  </a:lnTo>
                  <a:lnTo>
                    <a:pt x="234559" y="103662"/>
                  </a:lnTo>
                  <a:lnTo>
                    <a:pt x="236253" y="117976"/>
                  </a:lnTo>
                  <a:lnTo>
                    <a:pt x="243953" y="126621"/>
                  </a:lnTo>
                  <a:lnTo>
                    <a:pt x="242718" y="154387"/>
                  </a:lnTo>
                  <a:lnTo>
                    <a:pt x="248432" y="152244"/>
                  </a:lnTo>
                  <a:lnTo>
                    <a:pt x="258462" y="152818"/>
                  </a:lnTo>
                  <a:lnTo>
                    <a:pt x="272761" y="149320"/>
                  </a:lnTo>
                  <a:lnTo>
                    <a:pt x="283273" y="150697"/>
                  </a:lnTo>
                  <a:lnTo>
                    <a:pt x="285713" y="157950"/>
                  </a:lnTo>
                  <a:lnTo>
                    <a:pt x="283087" y="169291"/>
                  </a:lnTo>
                  <a:lnTo>
                    <a:pt x="287144" y="180269"/>
                  </a:lnTo>
                  <a:lnTo>
                    <a:pt x="283705" y="189046"/>
                  </a:lnTo>
                  <a:lnTo>
                    <a:pt x="285672" y="197142"/>
                  </a:lnTo>
                  <a:lnTo>
                    <a:pt x="237608" y="196846"/>
                  </a:lnTo>
                  <a:lnTo>
                    <a:pt x="236546" y="271828"/>
                  </a:lnTo>
                  <a:lnTo>
                    <a:pt x="252118" y="291224"/>
                  </a:lnTo>
                  <a:lnTo>
                    <a:pt x="267181" y="306070"/>
                  </a:lnTo>
                  <a:lnTo>
                    <a:pt x="224758" y="315772"/>
                  </a:lnTo>
                  <a:lnTo>
                    <a:pt x="168875" y="312401"/>
                  </a:lnTo>
                  <a:lnTo>
                    <a:pt x="152882" y="301000"/>
                  </a:lnTo>
                  <a:lnTo>
                    <a:pt x="59313" y="302026"/>
                  </a:lnTo>
                  <a:lnTo>
                    <a:pt x="55823" y="303698"/>
                  </a:lnTo>
                  <a:lnTo>
                    <a:pt x="42063" y="292952"/>
                  </a:lnTo>
                  <a:lnTo>
                    <a:pt x="27099" y="292243"/>
                  </a:lnTo>
                  <a:lnTo>
                    <a:pt x="13281" y="296288"/>
                  </a:lnTo>
                  <a:lnTo>
                    <a:pt x="2172" y="300809"/>
                  </a:lnTo>
                  <a:lnTo>
                    <a:pt x="0" y="285877"/>
                  </a:lnTo>
                  <a:lnTo>
                    <a:pt x="3195" y="265047"/>
                  </a:lnTo>
                  <a:lnTo>
                    <a:pt x="11160" y="243421"/>
                  </a:lnTo>
                  <a:lnTo>
                    <a:pt x="12361" y="233303"/>
                  </a:lnTo>
                  <a:lnTo>
                    <a:pt x="19851" y="212092"/>
                  </a:lnTo>
                  <a:lnTo>
                    <a:pt x="25354" y="202466"/>
                  </a:lnTo>
                  <a:lnTo>
                    <a:pt x="38613" y="187119"/>
                  </a:lnTo>
                  <a:lnTo>
                    <a:pt x="46018" y="176694"/>
                  </a:lnTo>
                  <a:lnTo>
                    <a:pt x="48442" y="159366"/>
                  </a:lnTo>
                  <a:lnTo>
                    <a:pt x="47234" y="146127"/>
                  </a:lnTo>
                  <a:lnTo>
                    <a:pt x="40331" y="137784"/>
                  </a:lnTo>
                  <a:lnTo>
                    <a:pt x="34183" y="123641"/>
                  </a:lnTo>
                  <a:lnTo>
                    <a:pt x="28513" y="109670"/>
                  </a:lnTo>
                  <a:lnTo>
                    <a:pt x="29753" y="104834"/>
                  </a:lnTo>
                  <a:lnTo>
                    <a:pt x="36848" y="95613"/>
                  </a:lnTo>
                  <a:lnTo>
                    <a:pt x="29845" y="73171"/>
                  </a:lnTo>
                  <a:lnTo>
                    <a:pt x="25119" y="57639"/>
                  </a:lnTo>
                  <a:lnTo>
                    <a:pt x="13555" y="42973"/>
                  </a:lnTo>
                  <a:lnTo>
                    <a:pt x="15750" y="38470"/>
                  </a:lnTo>
                  <a:lnTo>
                    <a:pt x="25277" y="35356"/>
                  </a:lnTo>
                  <a:lnTo>
                    <a:pt x="31964" y="35790"/>
                  </a:lnTo>
                  <a:close/>
                  <a:moveTo>
                    <a:pt x="22637" y="0"/>
                  </a:moveTo>
                  <a:lnTo>
                    <a:pt x="31287" y="7935"/>
                  </a:lnTo>
                  <a:lnTo>
                    <a:pt x="22887" y="12798"/>
                  </a:lnTo>
                  <a:lnTo>
                    <a:pt x="19110" y="18748"/>
                  </a:lnTo>
                  <a:lnTo>
                    <a:pt x="18388" y="28840"/>
                  </a:lnTo>
                  <a:lnTo>
                    <a:pt x="12516" y="31286"/>
                  </a:lnTo>
                  <a:lnTo>
                    <a:pt x="6345" y="13879"/>
                  </a:lnTo>
                  <a:lnTo>
                    <a:pt x="15662" y="389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37" name="Freeform 35">
              <a:extLst>
                <a:ext uri="{FF2B5EF4-FFF2-40B4-BE49-F238E27FC236}">
                  <a16:creationId xmlns:a16="http://schemas.microsoft.com/office/drawing/2014/main" id="{903294D1-7981-1540-90BF-9255D6A76024}"/>
                </a:ext>
              </a:extLst>
            </p:cNvPr>
            <p:cNvSpPr>
              <a:spLocks noChangeAspect="1"/>
            </p:cNvSpPr>
            <p:nvPr>
              <p:custDataLst>
                <p:tags r:id="rId41"/>
              </p:custDataLst>
            </p:nvPr>
          </p:nvSpPr>
          <p:spPr>
            <a:xfrm>
              <a:off x="4806286" y="3478483"/>
              <a:ext cx="39600" cy="84252"/>
            </a:xfrm>
            <a:custGeom>
              <a:avLst/>
              <a:gdLst/>
              <a:ahLst/>
              <a:cxnLst/>
              <a:rect l="0" t="0" r="0" b="0"/>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38" name="Freeform 36">
              <a:extLst>
                <a:ext uri="{FF2B5EF4-FFF2-40B4-BE49-F238E27FC236}">
                  <a16:creationId xmlns:a16="http://schemas.microsoft.com/office/drawing/2014/main" id="{BC957CCB-0D56-C24E-B42D-1B975F72DF60}"/>
                </a:ext>
              </a:extLst>
            </p:cNvPr>
            <p:cNvSpPr>
              <a:spLocks noChangeAspect="1"/>
            </p:cNvSpPr>
            <p:nvPr>
              <p:custDataLst>
                <p:tags r:id="rId42"/>
              </p:custDataLst>
            </p:nvPr>
          </p:nvSpPr>
          <p:spPr>
            <a:xfrm>
              <a:off x="5551280" y="3912817"/>
              <a:ext cx="111197" cy="87108"/>
            </a:xfrm>
            <a:custGeom>
              <a:avLst/>
              <a:gdLst/>
              <a:ahLst/>
              <a:cxnLst/>
              <a:rect l="0" t="0" r="0" b="0"/>
              <a:pathLst>
                <a:path w="111197" h="87108">
                  <a:moveTo>
                    <a:pt x="0" y="44496"/>
                  </a:moveTo>
                  <a:lnTo>
                    <a:pt x="4107" y="43307"/>
                  </a:lnTo>
                  <a:lnTo>
                    <a:pt x="4960" y="50016"/>
                  </a:lnTo>
                  <a:lnTo>
                    <a:pt x="23026" y="46162"/>
                  </a:lnTo>
                  <a:lnTo>
                    <a:pt x="42114" y="46800"/>
                  </a:lnTo>
                  <a:lnTo>
                    <a:pt x="56056" y="47523"/>
                  </a:lnTo>
                  <a:lnTo>
                    <a:pt x="71868" y="30960"/>
                  </a:lnTo>
                  <a:lnTo>
                    <a:pt x="89088" y="15198"/>
                  </a:lnTo>
                  <a:lnTo>
                    <a:pt x="103671" y="0"/>
                  </a:lnTo>
                  <a:lnTo>
                    <a:pt x="108062" y="8411"/>
                  </a:lnTo>
                  <a:lnTo>
                    <a:pt x="111196" y="27846"/>
                  </a:lnTo>
                  <a:lnTo>
                    <a:pt x="99410" y="27942"/>
                  </a:lnTo>
                  <a:lnTo>
                    <a:pt x="97515" y="43906"/>
                  </a:lnTo>
                  <a:lnTo>
                    <a:pt x="101603" y="47308"/>
                  </a:lnTo>
                  <a:lnTo>
                    <a:pt x="91156" y="52123"/>
                  </a:lnTo>
                  <a:lnTo>
                    <a:pt x="91091" y="62100"/>
                  </a:lnTo>
                  <a:lnTo>
                    <a:pt x="84366" y="72183"/>
                  </a:lnTo>
                  <a:lnTo>
                    <a:pt x="83763" y="81974"/>
                  </a:lnTo>
                  <a:lnTo>
                    <a:pt x="79111" y="87107"/>
                  </a:lnTo>
                  <a:lnTo>
                    <a:pt x="9722" y="74856"/>
                  </a:lnTo>
                  <a:lnTo>
                    <a:pt x="881" y="5015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39" name="Freeform 37">
              <a:extLst>
                <a:ext uri="{FF2B5EF4-FFF2-40B4-BE49-F238E27FC236}">
                  <a16:creationId xmlns:a16="http://schemas.microsoft.com/office/drawing/2014/main" id="{770984FE-264B-A949-971F-75BAD2544B4E}"/>
                </a:ext>
              </a:extLst>
            </p:cNvPr>
            <p:cNvSpPr>
              <a:spLocks noChangeAspect="1"/>
            </p:cNvSpPr>
            <p:nvPr>
              <p:custDataLst>
                <p:tags r:id="rId43"/>
              </p:custDataLst>
            </p:nvPr>
          </p:nvSpPr>
          <p:spPr>
            <a:xfrm>
              <a:off x="5366693" y="3518383"/>
              <a:ext cx="67471" cy="68239"/>
            </a:xfrm>
            <a:custGeom>
              <a:avLst/>
              <a:gdLst/>
              <a:ahLst/>
              <a:cxnLst/>
              <a:rect l="0" t="0" r="0" b="0"/>
              <a:pathLst>
                <a:path w="67471" h="68239">
                  <a:moveTo>
                    <a:pt x="0" y="4290"/>
                  </a:moveTo>
                  <a:lnTo>
                    <a:pt x="32079" y="0"/>
                  </a:lnTo>
                  <a:lnTo>
                    <a:pt x="36857" y="7223"/>
                  </a:lnTo>
                  <a:lnTo>
                    <a:pt x="45648" y="11971"/>
                  </a:lnTo>
                  <a:lnTo>
                    <a:pt x="41005" y="18839"/>
                  </a:lnTo>
                  <a:lnTo>
                    <a:pt x="53301" y="28208"/>
                  </a:lnTo>
                  <a:lnTo>
                    <a:pt x="46795" y="36881"/>
                  </a:lnTo>
                  <a:lnTo>
                    <a:pt x="56594" y="44269"/>
                  </a:lnTo>
                  <a:lnTo>
                    <a:pt x="66957" y="48711"/>
                  </a:lnTo>
                  <a:lnTo>
                    <a:pt x="67470" y="67446"/>
                  </a:lnTo>
                  <a:lnTo>
                    <a:pt x="59112" y="68238"/>
                  </a:lnTo>
                  <a:lnTo>
                    <a:pt x="49688" y="52622"/>
                  </a:lnTo>
                  <a:lnTo>
                    <a:pt x="49795" y="48444"/>
                  </a:lnTo>
                  <a:lnTo>
                    <a:pt x="39596" y="48505"/>
                  </a:lnTo>
                  <a:lnTo>
                    <a:pt x="32760" y="41229"/>
                  </a:lnTo>
                  <a:lnTo>
                    <a:pt x="27959" y="41962"/>
                  </a:lnTo>
                  <a:lnTo>
                    <a:pt x="18865" y="34024"/>
                  </a:lnTo>
                  <a:lnTo>
                    <a:pt x="1701" y="27251"/>
                  </a:lnTo>
                  <a:lnTo>
                    <a:pt x="3922" y="1394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40" name="Freeform 38">
              <a:extLst>
                <a:ext uri="{FF2B5EF4-FFF2-40B4-BE49-F238E27FC236}">
                  <a16:creationId xmlns:a16="http://schemas.microsoft.com/office/drawing/2014/main" id="{CE47A140-2C38-E642-9C3F-00B11E8EE0D7}"/>
                </a:ext>
              </a:extLst>
            </p:cNvPr>
            <p:cNvSpPr>
              <a:spLocks noChangeAspect="1"/>
            </p:cNvSpPr>
            <p:nvPr>
              <p:custDataLst>
                <p:tags r:id="rId44"/>
              </p:custDataLst>
            </p:nvPr>
          </p:nvSpPr>
          <p:spPr>
            <a:xfrm>
              <a:off x="6976852" y="4775136"/>
              <a:ext cx="928629" cy="828837"/>
            </a:xfrm>
            <a:custGeom>
              <a:avLst/>
              <a:gdLst/>
              <a:ahLst/>
              <a:cxnLst/>
              <a:rect l="l" t="t" r="r" b="b"/>
              <a:pathLst>
                <a:path w="928629" h="828837">
                  <a:moveTo>
                    <a:pt x="724907" y="747483"/>
                  </a:moveTo>
                  <a:lnTo>
                    <a:pt x="740009" y="749910"/>
                  </a:lnTo>
                  <a:lnTo>
                    <a:pt x="762310" y="759385"/>
                  </a:lnTo>
                  <a:lnTo>
                    <a:pt x="774878" y="755616"/>
                  </a:lnTo>
                  <a:lnTo>
                    <a:pt x="792898" y="750340"/>
                  </a:lnTo>
                  <a:lnTo>
                    <a:pt x="806743" y="752182"/>
                  </a:lnTo>
                  <a:lnTo>
                    <a:pt x="808377" y="784918"/>
                  </a:lnTo>
                  <a:lnTo>
                    <a:pt x="800470" y="794488"/>
                  </a:lnTo>
                  <a:lnTo>
                    <a:pt x="798087" y="816954"/>
                  </a:lnTo>
                  <a:lnTo>
                    <a:pt x="790020" y="809288"/>
                  </a:lnTo>
                  <a:lnTo>
                    <a:pt x="773995" y="828837"/>
                  </a:lnTo>
                  <a:lnTo>
                    <a:pt x="769216" y="827325"/>
                  </a:lnTo>
                  <a:lnTo>
                    <a:pt x="755022" y="826450"/>
                  </a:lnTo>
                  <a:lnTo>
                    <a:pt x="740792" y="802476"/>
                  </a:lnTo>
                  <a:lnTo>
                    <a:pt x="737634" y="784119"/>
                  </a:lnTo>
                  <a:lnTo>
                    <a:pt x="724315" y="760068"/>
                  </a:lnTo>
                  <a:close/>
                  <a:moveTo>
                    <a:pt x="673468" y="0"/>
                  </a:moveTo>
                  <a:lnTo>
                    <a:pt x="679978" y="11424"/>
                  </a:lnTo>
                  <a:lnTo>
                    <a:pt x="681582" y="26093"/>
                  </a:lnTo>
                  <a:lnTo>
                    <a:pt x="687334" y="28923"/>
                  </a:lnTo>
                  <a:lnTo>
                    <a:pt x="688319" y="38759"/>
                  </a:lnTo>
                  <a:lnTo>
                    <a:pt x="696709" y="50685"/>
                  </a:lnTo>
                  <a:lnTo>
                    <a:pt x="698442" y="63973"/>
                  </a:lnTo>
                  <a:lnTo>
                    <a:pt x="697625" y="72510"/>
                  </a:lnTo>
                  <a:lnTo>
                    <a:pt x="705942" y="90982"/>
                  </a:lnTo>
                  <a:lnTo>
                    <a:pt x="720752" y="82099"/>
                  </a:lnTo>
                  <a:lnTo>
                    <a:pt x="728397" y="92070"/>
                  </a:lnTo>
                  <a:lnTo>
                    <a:pt x="739472" y="101280"/>
                  </a:lnTo>
                  <a:lnTo>
                    <a:pt x="737100" y="111746"/>
                  </a:lnTo>
                  <a:lnTo>
                    <a:pt x="742023" y="132033"/>
                  </a:lnTo>
                  <a:lnTo>
                    <a:pt x="745527" y="143872"/>
                  </a:lnTo>
                  <a:lnTo>
                    <a:pt x="751341" y="146768"/>
                  </a:lnTo>
                  <a:lnTo>
                    <a:pt x="757605" y="167089"/>
                  </a:lnTo>
                  <a:lnTo>
                    <a:pt x="755375" y="179445"/>
                  </a:lnTo>
                  <a:lnTo>
                    <a:pt x="762849" y="195644"/>
                  </a:lnTo>
                  <a:lnTo>
                    <a:pt x="787862" y="208151"/>
                  </a:lnTo>
                  <a:lnTo>
                    <a:pt x="804170" y="219550"/>
                  </a:lnTo>
                  <a:lnTo>
                    <a:pt x="819654" y="230009"/>
                  </a:lnTo>
                  <a:lnTo>
                    <a:pt x="816631" y="235839"/>
                  </a:lnTo>
                  <a:lnTo>
                    <a:pt x="829834" y="250954"/>
                  </a:lnTo>
                  <a:lnTo>
                    <a:pt x="838810" y="277134"/>
                  </a:lnTo>
                  <a:lnTo>
                    <a:pt x="848022" y="271807"/>
                  </a:lnTo>
                  <a:lnTo>
                    <a:pt x="857384" y="282318"/>
                  </a:lnTo>
                  <a:lnTo>
                    <a:pt x="863023" y="278587"/>
                  </a:lnTo>
                  <a:lnTo>
                    <a:pt x="866999" y="304361"/>
                  </a:lnTo>
                  <a:lnTo>
                    <a:pt x="883380" y="319352"/>
                  </a:lnTo>
                  <a:lnTo>
                    <a:pt x="894099" y="328692"/>
                  </a:lnTo>
                  <a:lnTo>
                    <a:pt x="912142" y="348566"/>
                  </a:lnTo>
                  <a:lnTo>
                    <a:pt x="918627" y="368376"/>
                  </a:lnTo>
                  <a:lnTo>
                    <a:pt x="919222" y="382481"/>
                  </a:lnTo>
                  <a:lnTo>
                    <a:pt x="917629" y="397844"/>
                  </a:lnTo>
                  <a:lnTo>
                    <a:pt x="928629" y="419021"/>
                  </a:lnTo>
                  <a:lnTo>
                    <a:pt x="927305" y="441188"/>
                  </a:lnTo>
                  <a:lnTo>
                    <a:pt x="923312" y="452835"/>
                  </a:lnTo>
                  <a:lnTo>
                    <a:pt x="917082" y="475361"/>
                  </a:lnTo>
                  <a:lnTo>
                    <a:pt x="917552" y="489907"/>
                  </a:lnTo>
                  <a:lnTo>
                    <a:pt x="912981" y="508167"/>
                  </a:lnTo>
                  <a:lnTo>
                    <a:pt x="902789" y="531463"/>
                  </a:lnTo>
                  <a:lnTo>
                    <a:pt x="885687" y="544107"/>
                  </a:lnTo>
                  <a:lnTo>
                    <a:pt x="877259" y="564131"/>
                  </a:lnTo>
                  <a:lnTo>
                    <a:pt x="869562" y="576966"/>
                  </a:lnTo>
                  <a:lnTo>
                    <a:pt x="862721" y="599487"/>
                  </a:lnTo>
                  <a:lnTo>
                    <a:pt x="853812" y="612558"/>
                  </a:lnTo>
                  <a:lnTo>
                    <a:pt x="847972" y="632277"/>
                  </a:lnTo>
                  <a:lnTo>
                    <a:pt x="844992" y="650530"/>
                  </a:lnTo>
                  <a:lnTo>
                    <a:pt x="846173" y="658942"/>
                  </a:lnTo>
                  <a:lnTo>
                    <a:pt x="832937" y="668210"/>
                  </a:lnTo>
                  <a:lnTo>
                    <a:pt x="807102" y="669182"/>
                  </a:lnTo>
                  <a:lnTo>
                    <a:pt x="785799" y="680159"/>
                  </a:lnTo>
                  <a:lnTo>
                    <a:pt x="775190" y="690560"/>
                  </a:lnTo>
                  <a:lnTo>
                    <a:pt x="761243" y="702126"/>
                  </a:lnTo>
                  <a:lnTo>
                    <a:pt x="742125" y="690217"/>
                  </a:lnTo>
                  <a:lnTo>
                    <a:pt x="727983" y="685478"/>
                  </a:lnTo>
                  <a:lnTo>
                    <a:pt x="731566" y="671511"/>
                  </a:lnTo>
                  <a:lnTo>
                    <a:pt x="718950" y="676572"/>
                  </a:lnTo>
                  <a:lnTo>
                    <a:pt x="698737" y="696023"/>
                  </a:lnTo>
                  <a:lnTo>
                    <a:pt x="678781" y="688725"/>
                  </a:lnTo>
                  <a:lnTo>
                    <a:pt x="665691" y="684474"/>
                  </a:lnTo>
                  <a:lnTo>
                    <a:pt x="652493" y="682555"/>
                  </a:lnTo>
                  <a:lnTo>
                    <a:pt x="630150" y="674805"/>
                  </a:lnTo>
                  <a:lnTo>
                    <a:pt x="615228" y="658347"/>
                  </a:lnTo>
                  <a:lnTo>
                    <a:pt x="610945" y="638186"/>
                  </a:lnTo>
                  <a:lnTo>
                    <a:pt x="605579" y="624837"/>
                  </a:lnTo>
                  <a:lnTo>
                    <a:pt x="594238" y="614158"/>
                  </a:lnTo>
                  <a:lnTo>
                    <a:pt x="572031" y="610993"/>
                  </a:lnTo>
                  <a:lnTo>
                    <a:pt x="579619" y="598277"/>
                  </a:lnTo>
                  <a:lnTo>
                    <a:pt x="574035" y="578901"/>
                  </a:lnTo>
                  <a:lnTo>
                    <a:pt x="562761" y="596958"/>
                  </a:lnTo>
                  <a:lnTo>
                    <a:pt x="542223" y="601767"/>
                  </a:lnTo>
                  <a:lnTo>
                    <a:pt x="554295" y="587306"/>
                  </a:lnTo>
                  <a:lnTo>
                    <a:pt x="557792" y="572284"/>
                  </a:lnTo>
                  <a:lnTo>
                    <a:pt x="566708" y="559584"/>
                  </a:lnTo>
                  <a:lnTo>
                    <a:pt x="564866" y="540466"/>
                  </a:lnTo>
                  <a:lnTo>
                    <a:pt x="546088" y="562492"/>
                  </a:lnTo>
                  <a:lnTo>
                    <a:pt x="531667" y="571362"/>
                  </a:lnTo>
                  <a:lnTo>
                    <a:pt x="522825" y="592077"/>
                  </a:lnTo>
                  <a:lnTo>
                    <a:pt x="504802" y="581346"/>
                  </a:lnTo>
                  <a:lnTo>
                    <a:pt x="505518" y="567551"/>
                  </a:lnTo>
                  <a:lnTo>
                    <a:pt x="491073" y="548787"/>
                  </a:lnTo>
                  <a:lnTo>
                    <a:pt x="478896" y="539128"/>
                  </a:lnTo>
                  <a:lnTo>
                    <a:pt x="483235" y="533190"/>
                  </a:lnTo>
                  <a:lnTo>
                    <a:pt x="453618" y="517646"/>
                  </a:lnTo>
                  <a:lnTo>
                    <a:pt x="437398" y="516915"/>
                  </a:lnTo>
                  <a:lnTo>
                    <a:pt x="415198" y="504476"/>
                  </a:lnTo>
                  <a:lnTo>
                    <a:pt x="373868" y="506890"/>
                  </a:lnTo>
                  <a:lnTo>
                    <a:pt x="343979" y="516041"/>
                  </a:lnTo>
                  <a:lnTo>
                    <a:pt x="317709" y="524591"/>
                  </a:lnTo>
                  <a:lnTo>
                    <a:pt x="295685" y="522891"/>
                  </a:lnTo>
                  <a:lnTo>
                    <a:pt x="271214" y="536058"/>
                  </a:lnTo>
                  <a:lnTo>
                    <a:pt x="251202" y="541998"/>
                  </a:lnTo>
                  <a:lnTo>
                    <a:pt x="246754" y="555531"/>
                  </a:lnTo>
                  <a:lnTo>
                    <a:pt x="238231" y="566053"/>
                  </a:lnTo>
                  <a:lnTo>
                    <a:pt x="218642" y="566683"/>
                  </a:lnTo>
                  <a:lnTo>
                    <a:pt x="204147" y="568991"/>
                  </a:lnTo>
                  <a:lnTo>
                    <a:pt x="183744" y="564261"/>
                  </a:lnTo>
                  <a:lnTo>
                    <a:pt x="167150" y="567090"/>
                  </a:lnTo>
                  <a:lnTo>
                    <a:pt x="151302" y="568281"/>
                  </a:lnTo>
                  <a:lnTo>
                    <a:pt x="137573" y="582146"/>
                  </a:lnTo>
                  <a:lnTo>
                    <a:pt x="130842" y="580968"/>
                  </a:lnTo>
                  <a:lnTo>
                    <a:pt x="119264" y="588337"/>
                  </a:lnTo>
                  <a:lnTo>
                    <a:pt x="108167" y="596642"/>
                  </a:lnTo>
                  <a:lnTo>
                    <a:pt x="91329" y="595615"/>
                  </a:lnTo>
                  <a:lnTo>
                    <a:pt x="75854" y="595605"/>
                  </a:lnTo>
                  <a:lnTo>
                    <a:pt x="51369" y="578945"/>
                  </a:lnTo>
                  <a:lnTo>
                    <a:pt x="38961" y="574006"/>
                  </a:lnTo>
                  <a:lnTo>
                    <a:pt x="39464" y="559142"/>
                  </a:lnTo>
                  <a:lnTo>
                    <a:pt x="50925" y="555620"/>
                  </a:lnTo>
                  <a:lnTo>
                    <a:pt x="54839" y="549737"/>
                  </a:lnTo>
                  <a:lnTo>
                    <a:pt x="54024" y="540475"/>
                  </a:lnTo>
                  <a:lnTo>
                    <a:pt x="56847" y="522612"/>
                  </a:lnTo>
                  <a:lnTo>
                    <a:pt x="54260" y="507452"/>
                  </a:lnTo>
                  <a:lnTo>
                    <a:pt x="42057" y="481731"/>
                  </a:lnTo>
                  <a:lnTo>
                    <a:pt x="38274" y="467278"/>
                  </a:lnTo>
                  <a:lnTo>
                    <a:pt x="39266" y="452908"/>
                  </a:lnTo>
                  <a:lnTo>
                    <a:pt x="30078" y="436549"/>
                  </a:lnTo>
                  <a:lnTo>
                    <a:pt x="29490" y="429184"/>
                  </a:lnTo>
                  <a:lnTo>
                    <a:pt x="19266" y="419221"/>
                  </a:lnTo>
                  <a:lnTo>
                    <a:pt x="16388" y="399695"/>
                  </a:lnTo>
                  <a:lnTo>
                    <a:pt x="3199" y="380049"/>
                  </a:lnTo>
                  <a:lnTo>
                    <a:pt x="0" y="369497"/>
                  </a:lnTo>
                  <a:lnTo>
                    <a:pt x="10143" y="380195"/>
                  </a:lnTo>
                  <a:lnTo>
                    <a:pt x="2355" y="357276"/>
                  </a:lnTo>
                  <a:lnTo>
                    <a:pt x="13803" y="364427"/>
                  </a:lnTo>
                  <a:lnTo>
                    <a:pt x="20634" y="373993"/>
                  </a:lnTo>
                  <a:lnTo>
                    <a:pt x="20249" y="361344"/>
                  </a:lnTo>
                  <a:lnTo>
                    <a:pt x="8825" y="341964"/>
                  </a:lnTo>
                  <a:lnTo>
                    <a:pt x="6612" y="334234"/>
                  </a:lnTo>
                  <a:lnTo>
                    <a:pt x="1260" y="326901"/>
                  </a:lnTo>
                  <a:lnTo>
                    <a:pt x="3765" y="312757"/>
                  </a:lnTo>
                  <a:lnTo>
                    <a:pt x="8496" y="306750"/>
                  </a:lnTo>
                  <a:lnTo>
                    <a:pt x="11645" y="294563"/>
                  </a:lnTo>
                  <a:lnTo>
                    <a:pt x="9178" y="280360"/>
                  </a:lnTo>
                  <a:lnTo>
                    <a:pt x="18716" y="262925"/>
                  </a:lnTo>
                  <a:lnTo>
                    <a:pt x="20460" y="281379"/>
                  </a:lnTo>
                  <a:lnTo>
                    <a:pt x="30212" y="264706"/>
                  </a:lnTo>
                  <a:lnTo>
                    <a:pt x="48964" y="256622"/>
                  </a:lnTo>
                  <a:lnTo>
                    <a:pt x="60210" y="246326"/>
                  </a:lnTo>
                  <a:lnTo>
                    <a:pt x="77851" y="237481"/>
                  </a:lnTo>
                  <a:lnTo>
                    <a:pt x="88346" y="235601"/>
                  </a:lnTo>
                  <a:lnTo>
                    <a:pt x="94699" y="238570"/>
                  </a:lnTo>
                  <a:lnTo>
                    <a:pt x="112889" y="229600"/>
                  </a:lnTo>
                  <a:lnTo>
                    <a:pt x="126890" y="226934"/>
                  </a:lnTo>
                  <a:lnTo>
                    <a:pt x="130392" y="221669"/>
                  </a:lnTo>
                  <a:lnTo>
                    <a:pt x="136501" y="219478"/>
                  </a:lnTo>
                  <a:lnTo>
                    <a:pt x="149260" y="220044"/>
                  </a:lnTo>
                  <a:lnTo>
                    <a:pt x="173519" y="213018"/>
                  </a:lnTo>
                  <a:lnTo>
                    <a:pt x="186068" y="202380"/>
                  </a:lnTo>
                  <a:lnTo>
                    <a:pt x="191961" y="189597"/>
                  </a:lnTo>
                  <a:lnTo>
                    <a:pt x="205500" y="177479"/>
                  </a:lnTo>
                  <a:lnTo>
                    <a:pt x="206537" y="167969"/>
                  </a:lnTo>
                  <a:lnTo>
                    <a:pt x="207141" y="155036"/>
                  </a:lnTo>
                  <a:lnTo>
                    <a:pt x="223294" y="134866"/>
                  </a:lnTo>
                  <a:lnTo>
                    <a:pt x="233016" y="155358"/>
                  </a:lnTo>
                  <a:lnTo>
                    <a:pt x="242840" y="150617"/>
                  </a:lnTo>
                  <a:lnTo>
                    <a:pt x="234620" y="139402"/>
                  </a:lnTo>
                  <a:lnTo>
                    <a:pt x="241864" y="127904"/>
                  </a:lnTo>
                  <a:lnTo>
                    <a:pt x="252048" y="133035"/>
                  </a:lnTo>
                  <a:lnTo>
                    <a:pt x="254852" y="115027"/>
                  </a:lnTo>
                  <a:lnTo>
                    <a:pt x="267465" y="103407"/>
                  </a:lnTo>
                  <a:lnTo>
                    <a:pt x="273030" y="94095"/>
                  </a:lnTo>
                  <a:lnTo>
                    <a:pt x="284637" y="90081"/>
                  </a:lnTo>
                  <a:lnTo>
                    <a:pt x="284999" y="83499"/>
                  </a:lnTo>
                  <a:lnTo>
                    <a:pt x="295141" y="86247"/>
                  </a:lnTo>
                  <a:lnTo>
                    <a:pt x="295548" y="80329"/>
                  </a:lnTo>
                  <a:lnTo>
                    <a:pt x="305700" y="76959"/>
                  </a:lnTo>
                  <a:lnTo>
                    <a:pt x="316855" y="73788"/>
                  </a:lnTo>
                  <a:lnTo>
                    <a:pt x="333907" y="84588"/>
                  </a:lnTo>
                  <a:lnTo>
                    <a:pt x="346720" y="98548"/>
                  </a:lnTo>
                  <a:lnTo>
                    <a:pt x="361166" y="98708"/>
                  </a:lnTo>
                  <a:lnTo>
                    <a:pt x="375845" y="100921"/>
                  </a:lnTo>
                  <a:lnTo>
                    <a:pt x="370955" y="87975"/>
                  </a:lnTo>
                  <a:lnTo>
                    <a:pt x="382012" y="69102"/>
                  </a:lnTo>
                  <a:lnTo>
                    <a:pt x="392418" y="62962"/>
                  </a:lnTo>
                  <a:lnTo>
                    <a:pt x="388818" y="57095"/>
                  </a:lnTo>
                  <a:lnTo>
                    <a:pt x="398843" y="43697"/>
                  </a:lnTo>
                  <a:lnTo>
                    <a:pt x="412824" y="35432"/>
                  </a:lnTo>
                  <a:lnTo>
                    <a:pt x="424633" y="38215"/>
                  </a:lnTo>
                  <a:lnTo>
                    <a:pt x="444027" y="33802"/>
                  </a:lnTo>
                  <a:lnTo>
                    <a:pt x="443610" y="21843"/>
                  </a:lnTo>
                  <a:lnTo>
                    <a:pt x="426701" y="14145"/>
                  </a:lnTo>
                  <a:lnTo>
                    <a:pt x="438993" y="10751"/>
                  </a:lnTo>
                  <a:lnTo>
                    <a:pt x="454282" y="16544"/>
                  </a:lnTo>
                  <a:lnTo>
                    <a:pt x="466545" y="26135"/>
                  </a:lnTo>
                  <a:lnTo>
                    <a:pt x="485986" y="32124"/>
                  </a:lnTo>
                  <a:lnTo>
                    <a:pt x="492578" y="29755"/>
                  </a:lnTo>
                  <a:lnTo>
                    <a:pt x="506886" y="36954"/>
                  </a:lnTo>
                  <a:lnTo>
                    <a:pt x="520371" y="30249"/>
                  </a:lnTo>
                  <a:lnTo>
                    <a:pt x="529043" y="32287"/>
                  </a:lnTo>
                  <a:lnTo>
                    <a:pt x="534446" y="27790"/>
                  </a:lnTo>
                  <a:lnTo>
                    <a:pt x="545044" y="39375"/>
                  </a:lnTo>
                  <a:lnTo>
                    <a:pt x="538893" y="51924"/>
                  </a:lnTo>
                  <a:lnTo>
                    <a:pt x="530128" y="61408"/>
                  </a:lnTo>
                  <a:lnTo>
                    <a:pt x="522196" y="62190"/>
                  </a:lnTo>
                  <a:lnTo>
                    <a:pt x="524870" y="71584"/>
                  </a:lnTo>
                  <a:lnTo>
                    <a:pt x="518089" y="83342"/>
                  </a:lnTo>
                  <a:lnTo>
                    <a:pt x="509890" y="94922"/>
                  </a:lnTo>
                  <a:lnTo>
                    <a:pt x="511541" y="101581"/>
                  </a:lnTo>
                  <a:lnTo>
                    <a:pt x="529892" y="114630"/>
                  </a:lnTo>
                  <a:lnTo>
                    <a:pt x="547669" y="122210"/>
                  </a:lnTo>
                  <a:lnTo>
                    <a:pt x="559560" y="130361"/>
                  </a:lnTo>
                  <a:lnTo>
                    <a:pt x="576243" y="144410"/>
                  </a:lnTo>
                  <a:lnTo>
                    <a:pt x="582751" y="144387"/>
                  </a:lnTo>
                  <a:lnTo>
                    <a:pt x="594832" y="150466"/>
                  </a:lnTo>
                  <a:lnTo>
                    <a:pt x="598341" y="157808"/>
                  </a:lnTo>
                  <a:lnTo>
                    <a:pt x="620377" y="165879"/>
                  </a:lnTo>
                  <a:lnTo>
                    <a:pt x="635617" y="157748"/>
                  </a:lnTo>
                  <a:lnTo>
                    <a:pt x="640133" y="144990"/>
                  </a:lnTo>
                  <a:lnTo>
                    <a:pt x="644818" y="134479"/>
                  </a:lnTo>
                  <a:lnTo>
                    <a:pt x="647684" y="121495"/>
                  </a:lnTo>
                  <a:lnTo>
                    <a:pt x="654700" y="102694"/>
                  </a:lnTo>
                  <a:lnTo>
                    <a:pt x="651496" y="91289"/>
                  </a:lnTo>
                  <a:lnTo>
                    <a:pt x="653161" y="84435"/>
                  </a:lnTo>
                  <a:lnTo>
                    <a:pt x="650492" y="70969"/>
                  </a:lnTo>
                  <a:lnTo>
                    <a:pt x="653517" y="53273"/>
                  </a:lnTo>
                  <a:lnTo>
                    <a:pt x="657943" y="48508"/>
                  </a:lnTo>
                  <a:lnTo>
                    <a:pt x="654350" y="40679"/>
                  </a:lnTo>
                  <a:lnTo>
                    <a:pt x="659928" y="28264"/>
                  </a:lnTo>
                  <a:lnTo>
                    <a:pt x="664309" y="15413"/>
                  </a:lnTo>
                  <a:lnTo>
                    <a:pt x="664892" y="874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41" name="Freeform 39">
              <a:extLst>
                <a:ext uri="{FF2B5EF4-FFF2-40B4-BE49-F238E27FC236}">
                  <a16:creationId xmlns:a16="http://schemas.microsoft.com/office/drawing/2014/main" id="{ACA4CBC4-EED0-904A-9128-BAF283A2867D}"/>
                </a:ext>
              </a:extLst>
            </p:cNvPr>
            <p:cNvSpPr>
              <a:spLocks noChangeAspect="1"/>
            </p:cNvSpPr>
            <p:nvPr>
              <p:custDataLst>
                <p:tags r:id="rId45"/>
              </p:custDataLst>
            </p:nvPr>
          </p:nvSpPr>
          <p:spPr>
            <a:xfrm>
              <a:off x="4579510" y="3295541"/>
              <a:ext cx="173114" cy="76581"/>
            </a:xfrm>
            <a:custGeom>
              <a:avLst/>
              <a:gdLst/>
              <a:ahLst/>
              <a:cxnLst/>
              <a:rect l="0" t="0" r="0" b="0"/>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42" name="Freeform 40">
              <a:extLst>
                <a:ext uri="{FF2B5EF4-FFF2-40B4-BE49-F238E27FC236}">
                  <a16:creationId xmlns:a16="http://schemas.microsoft.com/office/drawing/2014/main" id="{4D402C26-5914-5448-A0CF-4099F86D5636}"/>
                </a:ext>
              </a:extLst>
            </p:cNvPr>
            <p:cNvSpPr>
              <a:spLocks noChangeAspect="1"/>
            </p:cNvSpPr>
            <p:nvPr>
              <p:custDataLst>
                <p:tags r:id="rId46"/>
              </p:custDataLst>
            </p:nvPr>
          </p:nvSpPr>
          <p:spPr>
            <a:xfrm>
              <a:off x="5394652" y="3501477"/>
              <a:ext cx="129236" cy="97797"/>
            </a:xfrm>
            <a:custGeom>
              <a:avLst/>
              <a:gdLst/>
              <a:ahLst/>
              <a:cxnLst/>
              <a:rect l="l" t="t" r="r" b="b"/>
              <a:pathLst>
                <a:path w="129236" h="97797">
                  <a:moveTo>
                    <a:pt x="4801" y="58135"/>
                  </a:moveTo>
                  <a:lnTo>
                    <a:pt x="11637" y="65411"/>
                  </a:lnTo>
                  <a:lnTo>
                    <a:pt x="21836" y="65350"/>
                  </a:lnTo>
                  <a:lnTo>
                    <a:pt x="21729" y="69528"/>
                  </a:lnTo>
                  <a:lnTo>
                    <a:pt x="31153" y="85144"/>
                  </a:lnTo>
                  <a:lnTo>
                    <a:pt x="15320" y="81562"/>
                  </a:lnTo>
                  <a:lnTo>
                    <a:pt x="3663" y="69093"/>
                  </a:lnTo>
                  <a:lnTo>
                    <a:pt x="0" y="58868"/>
                  </a:lnTo>
                  <a:close/>
                  <a:moveTo>
                    <a:pt x="37185" y="0"/>
                  </a:moveTo>
                  <a:lnTo>
                    <a:pt x="43674" y="928"/>
                  </a:lnTo>
                  <a:lnTo>
                    <a:pt x="59537" y="17687"/>
                  </a:lnTo>
                  <a:lnTo>
                    <a:pt x="69748" y="19566"/>
                  </a:lnTo>
                  <a:lnTo>
                    <a:pt x="73709" y="12562"/>
                  </a:lnTo>
                  <a:lnTo>
                    <a:pt x="87491" y="1433"/>
                  </a:lnTo>
                  <a:lnTo>
                    <a:pt x="99631" y="15965"/>
                  </a:lnTo>
                  <a:lnTo>
                    <a:pt x="111372" y="35433"/>
                  </a:lnTo>
                  <a:lnTo>
                    <a:pt x="122126" y="36712"/>
                  </a:lnTo>
                  <a:lnTo>
                    <a:pt x="129236" y="44075"/>
                  </a:lnTo>
                  <a:lnTo>
                    <a:pt x="110224" y="46269"/>
                  </a:lnTo>
                  <a:lnTo>
                    <a:pt x="106209" y="67369"/>
                  </a:lnTo>
                  <a:lnTo>
                    <a:pt x="102238" y="76839"/>
                  </a:lnTo>
                  <a:lnTo>
                    <a:pt x="93774" y="83143"/>
                  </a:lnTo>
                  <a:lnTo>
                    <a:pt x="94390" y="96459"/>
                  </a:lnTo>
                  <a:lnTo>
                    <a:pt x="88646" y="97797"/>
                  </a:lnTo>
                  <a:lnTo>
                    <a:pt x="74251" y="83721"/>
                  </a:lnTo>
                  <a:lnTo>
                    <a:pt x="82209" y="70365"/>
                  </a:lnTo>
                  <a:lnTo>
                    <a:pt x="75390" y="62416"/>
                  </a:lnTo>
                  <a:lnTo>
                    <a:pt x="66734" y="64419"/>
                  </a:lnTo>
                  <a:lnTo>
                    <a:pt x="39511" y="84352"/>
                  </a:lnTo>
                  <a:lnTo>
                    <a:pt x="38998" y="65617"/>
                  </a:lnTo>
                  <a:lnTo>
                    <a:pt x="28635" y="61175"/>
                  </a:lnTo>
                  <a:lnTo>
                    <a:pt x="18836" y="53787"/>
                  </a:lnTo>
                  <a:lnTo>
                    <a:pt x="25342" y="45114"/>
                  </a:lnTo>
                  <a:lnTo>
                    <a:pt x="13046" y="35745"/>
                  </a:lnTo>
                  <a:lnTo>
                    <a:pt x="17689" y="28877"/>
                  </a:lnTo>
                  <a:lnTo>
                    <a:pt x="8898" y="24129"/>
                  </a:lnTo>
                  <a:lnTo>
                    <a:pt x="4120" y="16906"/>
                  </a:lnTo>
                  <a:lnTo>
                    <a:pt x="9774" y="12407"/>
                  </a:lnTo>
                  <a:lnTo>
                    <a:pt x="26974" y="20324"/>
                  </a:lnTo>
                  <a:lnTo>
                    <a:pt x="39417" y="21957"/>
                  </a:lnTo>
                  <a:lnTo>
                    <a:pt x="42562" y="18734"/>
                  </a:lnTo>
                  <a:lnTo>
                    <a:pt x="31194" y="381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43" name="Freeform 41">
              <a:extLst>
                <a:ext uri="{FF2B5EF4-FFF2-40B4-BE49-F238E27FC236}">
                  <a16:creationId xmlns:a16="http://schemas.microsoft.com/office/drawing/2014/main" id="{F1D46CE6-D0EB-A14B-BC55-81A3C38C3841}"/>
                </a:ext>
              </a:extLst>
            </p:cNvPr>
            <p:cNvSpPr>
              <a:spLocks noChangeAspect="1"/>
            </p:cNvSpPr>
            <p:nvPr>
              <p:custDataLst>
                <p:tags r:id="rId47"/>
              </p:custDataLst>
            </p:nvPr>
          </p:nvSpPr>
          <p:spPr>
            <a:xfrm>
              <a:off x="5030660" y="4582190"/>
              <a:ext cx="39872" cy="49722"/>
            </a:xfrm>
            <a:custGeom>
              <a:avLst/>
              <a:gdLst/>
              <a:ahLst/>
              <a:cxnLst/>
              <a:rect l="0" t="0" r="0" b="0"/>
              <a:pathLst>
                <a:path w="39872" h="49722">
                  <a:moveTo>
                    <a:pt x="7272" y="49721"/>
                  </a:moveTo>
                  <a:lnTo>
                    <a:pt x="5804" y="21839"/>
                  </a:lnTo>
                  <a:lnTo>
                    <a:pt x="0" y="11335"/>
                  </a:lnTo>
                  <a:lnTo>
                    <a:pt x="14016" y="13151"/>
                  </a:lnTo>
                  <a:lnTo>
                    <a:pt x="21084" y="0"/>
                  </a:lnTo>
                  <a:lnTo>
                    <a:pt x="33349" y="1509"/>
                  </a:lnTo>
                  <a:lnTo>
                    <a:pt x="34687" y="10605"/>
                  </a:lnTo>
                  <a:lnTo>
                    <a:pt x="39658" y="15841"/>
                  </a:lnTo>
                  <a:lnTo>
                    <a:pt x="39871" y="23351"/>
                  </a:lnTo>
                  <a:lnTo>
                    <a:pt x="34177" y="28187"/>
                  </a:lnTo>
                  <a:lnTo>
                    <a:pt x="25192" y="40243"/>
                  </a:lnTo>
                  <a:lnTo>
                    <a:pt x="16817" y="4862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44" name="Freeform 42">
              <a:extLst>
                <a:ext uri="{FF2B5EF4-FFF2-40B4-BE49-F238E27FC236}">
                  <a16:creationId xmlns:a16="http://schemas.microsoft.com/office/drawing/2014/main" id="{ADAE8E39-BD50-794F-B372-4D6310390C4F}"/>
                </a:ext>
              </a:extLst>
            </p:cNvPr>
            <p:cNvSpPr>
              <a:spLocks noChangeAspect="1"/>
            </p:cNvSpPr>
            <p:nvPr>
              <p:custDataLst>
                <p:tags r:id="rId48"/>
              </p:custDataLst>
            </p:nvPr>
          </p:nvSpPr>
          <p:spPr>
            <a:xfrm>
              <a:off x="4418707" y="3221910"/>
              <a:ext cx="84093" cy="58978"/>
            </a:xfrm>
            <a:custGeom>
              <a:avLst/>
              <a:gdLst/>
              <a:ahLst/>
              <a:cxnLst/>
              <a:rect l="0" t="0" r="0" b="0"/>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solidFill>
              <a:schemeClr val="tx2"/>
            </a:solid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45" name="Freeform 43">
              <a:extLst>
                <a:ext uri="{FF2B5EF4-FFF2-40B4-BE49-F238E27FC236}">
                  <a16:creationId xmlns:a16="http://schemas.microsoft.com/office/drawing/2014/main" id="{2002C9AF-9EDD-9D44-A265-21557693977B}"/>
                </a:ext>
              </a:extLst>
            </p:cNvPr>
            <p:cNvSpPr>
              <a:spLocks noChangeAspect="1"/>
            </p:cNvSpPr>
            <p:nvPr>
              <p:custDataLst>
                <p:tags r:id="rId49"/>
              </p:custDataLst>
            </p:nvPr>
          </p:nvSpPr>
          <p:spPr>
            <a:xfrm>
              <a:off x="4378514" y="4244155"/>
              <a:ext cx="69821" cy="141865"/>
            </a:xfrm>
            <a:custGeom>
              <a:avLst/>
              <a:gdLst/>
              <a:ahLst/>
              <a:cxnLst/>
              <a:rect l="0" t="0" r="0" b="0"/>
              <a:pathLst>
                <a:path w="69821" h="141865">
                  <a:moveTo>
                    <a:pt x="44304" y="139161"/>
                  </a:moveTo>
                  <a:lnTo>
                    <a:pt x="25227" y="141864"/>
                  </a:lnTo>
                  <a:lnTo>
                    <a:pt x="19542" y="125874"/>
                  </a:lnTo>
                  <a:lnTo>
                    <a:pt x="20593" y="72530"/>
                  </a:lnTo>
                  <a:lnTo>
                    <a:pt x="15943" y="67735"/>
                  </a:lnTo>
                  <a:lnTo>
                    <a:pt x="15067" y="56304"/>
                  </a:lnTo>
                  <a:lnTo>
                    <a:pt x="7051" y="48141"/>
                  </a:lnTo>
                  <a:lnTo>
                    <a:pt x="0" y="41256"/>
                  </a:lnTo>
                  <a:lnTo>
                    <a:pt x="2937" y="28964"/>
                  </a:lnTo>
                  <a:lnTo>
                    <a:pt x="10875" y="26320"/>
                  </a:lnTo>
                  <a:lnTo>
                    <a:pt x="15577" y="16101"/>
                  </a:lnTo>
                  <a:lnTo>
                    <a:pt x="26860" y="13916"/>
                  </a:lnTo>
                  <a:lnTo>
                    <a:pt x="31904" y="6919"/>
                  </a:lnTo>
                  <a:lnTo>
                    <a:pt x="39652" y="61"/>
                  </a:lnTo>
                  <a:lnTo>
                    <a:pt x="47927" y="0"/>
                  </a:lnTo>
                  <a:lnTo>
                    <a:pt x="65528" y="13471"/>
                  </a:lnTo>
                  <a:lnTo>
                    <a:pt x="64629" y="21239"/>
                  </a:lnTo>
                  <a:lnTo>
                    <a:pt x="69820" y="35096"/>
                  </a:lnTo>
                  <a:lnTo>
                    <a:pt x="65272" y="44489"/>
                  </a:lnTo>
                  <a:lnTo>
                    <a:pt x="67704" y="50762"/>
                  </a:lnTo>
                  <a:lnTo>
                    <a:pt x="56507" y="65185"/>
                  </a:lnTo>
                  <a:lnTo>
                    <a:pt x="49396" y="72321"/>
                  </a:lnTo>
                  <a:lnTo>
                    <a:pt x="45045" y="86991"/>
                  </a:lnTo>
                  <a:lnTo>
                    <a:pt x="45628" y="10177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46" name="Freeform 44">
              <a:extLst>
                <a:ext uri="{FF2B5EF4-FFF2-40B4-BE49-F238E27FC236}">
                  <a16:creationId xmlns:a16="http://schemas.microsoft.com/office/drawing/2014/main" id="{FA88DC72-9368-B940-8BC0-E670CE0361F3}"/>
                </a:ext>
              </a:extLst>
            </p:cNvPr>
            <p:cNvSpPr>
              <a:spLocks noChangeAspect="1"/>
            </p:cNvSpPr>
            <p:nvPr>
              <p:custDataLst>
                <p:tags r:id="rId50"/>
              </p:custDataLst>
            </p:nvPr>
          </p:nvSpPr>
          <p:spPr>
            <a:xfrm>
              <a:off x="4234411" y="4176430"/>
              <a:ext cx="176530" cy="129029"/>
            </a:xfrm>
            <a:custGeom>
              <a:avLst/>
              <a:gdLst/>
              <a:ahLst/>
              <a:cxnLst/>
              <a:rect l="0" t="0" r="0" b="0"/>
              <a:pathLst>
                <a:path w="176530" h="129029">
                  <a:moveTo>
                    <a:pt x="61009" y="128291"/>
                  </a:moveTo>
                  <a:lnTo>
                    <a:pt x="45211" y="122283"/>
                  </a:lnTo>
                  <a:lnTo>
                    <a:pt x="34396" y="123168"/>
                  </a:lnTo>
                  <a:lnTo>
                    <a:pt x="26322" y="129028"/>
                  </a:lnTo>
                  <a:lnTo>
                    <a:pt x="15943" y="124109"/>
                  </a:lnTo>
                  <a:lnTo>
                    <a:pt x="11909" y="116400"/>
                  </a:lnTo>
                  <a:lnTo>
                    <a:pt x="1529" y="111315"/>
                  </a:lnTo>
                  <a:lnTo>
                    <a:pt x="0" y="97765"/>
                  </a:lnTo>
                  <a:lnTo>
                    <a:pt x="6295" y="87861"/>
                  </a:lnTo>
                  <a:lnTo>
                    <a:pt x="5762" y="79940"/>
                  </a:lnTo>
                  <a:lnTo>
                    <a:pt x="24084" y="60532"/>
                  </a:lnTo>
                  <a:lnTo>
                    <a:pt x="27472" y="44441"/>
                  </a:lnTo>
                  <a:lnTo>
                    <a:pt x="33797" y="38709"/>
                  </a:lnTo>
                  <a:lnTo>
                    <a:pt x="44960" y="41876"/>
                  </a:lnTo>
                  <a:lnTo>
                    <a:pt x="54634" y="37093"/>
                  </a:lnTo>
                  <a:lnTo>
                    <a:pt x="57773" y="31053"/>
                  </a:lnTo>
                  <a:lnTo>
                    <a:pt x="75682" y="20505"/>
                  </a:lnTo>
                  <a:lnTo>
                    <a:pt x="80086" y="13141"/>
                  </a:lnTo>
                  <a:lnTo>
                    <a:pt x="101661" y="3359"/>
                  </a:lnTo>
                  <a:lnTo>
                    <a:pt x="114368" y="0"/>
                  </a:lnTo>
                  <a:lnTo>
                    <a:pt x="120129" y="4527"/>
                  </a:lnTo>
                  <a:lnTo>
                    <a:pt x="134929" y="4419"/>
                  </a:lnTo>
                  <a:lnTo>
                    <a:pt x="133100" y="15846"/>
                  </a:lnTo>
                  <a:lnTo>
                    <a:pt x="136199" y="26570"/>
                  </a:lnTo>
                  <a:lnTo>
                    <a:pt x="149198" y="41921"/>
                  </a:lnTo>
                  <a:lnTo>
                    <a:pt x="149914" y="53281"/>
                  </a:lnTo>
                  <a:lnTo>
                    <a:pt x="176529" y="58600"/>
                  </a:lnTo>
                  <a:lnTo>
                    <a:pt x="176007" y="74644"/>
                  </a:lnTo>
                  <a:lnTo>
                    <a:pt x="170963" y="81641"/>
                  </a:lnTo>
                  <a:lnTo>
                    <a:pt x="159680" y="83826"/>
                  </a:lnTo>
                  <a:lnTo>
                    <a:pt x="154978" y="94045"/>
                  </a:lnTo>
                  <a:lnTo>
                    <a:pt x="147040" y="96689"/>
                  </a:lnTo>
                  <a:lnTo>
                    <a:pt x="126825" y="96191"/>
                  </a:lnTo>
                  <a:lnTo>
                    <a:pt x="116149" y="94330"/>
                  </a:lnTo>
                  <a:lnTo>
                    <a:pt x="108696" y="98100"/>
                  </a:lnTo>
                  <a:lnTo>
                    <a:pt x="98499" y="96398"/>
                  </a:lnTo>
                  <a:lnTo>
                    <a:pt x="58403" y="97498"/>
                  </a:lnTo>
                  <a:lnTo>
                    <a:pt x="57861" y="11074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47" name="Freeform 45">
              <a:extLst>
                <a:ext uri="{FF2B5EF4-FFF2-40B4-BE49-F238E27FC236}">
                  <a16:creationId xmlns:a16="http://schemas.microsoft.com/office/drawing/2014/main" id="{F4F93A94-204B-D84E-8C82-A1D4C32E10A6}"/>
                </a:ext>
              </a:extLst>
            </p:cNvPr>
            <p:cNvSpPr>
              <a:spLocks noChangeAspect="1"/>
            </p:cNvSpPr>
            <p:nvPr>
              <p:custDataLst>
                <p:tags r:id="rId51"/>
              </p:custDataLst>
            </p:nvPr>
          </p:nvSpPr>
          <p:spPr>
            <a:xfrm>
              <a:off x="6393910" y="3903148"/>
              <a:ext cx="105912" cy="140919"/>
            </a:xfrm>
            <a:custGeom>
              <a:avLst/>
              <a:gdLst/>
              <a:ahLst/>
              <a:cxnLst/>
              <a:rect l="0" t="0" r="0" b="0"/>
              <a:pathLst>
                <a:path w="105912" h="140919">
                  <a:moveTo>
                    <a:pt x="105911" y="107825"/>
                  </a:moveTo>
                  <a:lnTo>
                    <a:pt x="105439" y="125169"/>
                  </a:lnTo>
                  <a:lnTo>
                    <a:pt x="97382" y="121511"/>
                  </a:lnTo>
                  <a:lnTo>
                    <a:pt x="98890" y="140918"/>
                  </a:lnTo>
                  <a:lnTo>
                    <a:pt x="92296" y="128351"/>
                  </a:lnTo>
                  <a:lnTo>
                    <a:pt x="90965" y="116046"/>
                  </a:lnTo>
                  <a:lnTo>
                    <a:pt x="86572" y="104392"/>
                  </a:lnTo>
                  <a:lnTo>
                    <a:pt x="76927" y="90266"/>
                  </a:lnTo>
                  <a:lnTo>
                    <a:pt x="55666" y="89294"/>
                  </a:lnTo>
                  <a:lnTo>
                    <a:pt x="57766" y="99303"/>
                  </a:lnTo>
                  <a:lnTo>
                    <a:pt x="50518" y="112785"/>
                  </a:lnTo>
                  <a:lnTo>
                    <a:pt x="40696" y="107876"/>
                  </a:lnTo>
                  <a:lnTo>
                    <a:pt x="37340" y="112283"/>
                  </a:lnTo>
                  <a:lnTo>
                    <a:pt x="30803" y="109643"/>
                  </a:lnTo>
                  <a:lnTo>
                    <a:pt x="21872" y="107475"/>
                  </a:lnTo>
                  <a:lnTo>
                    <a:pt x="18280" y="87492"/>
                  </a:lnTo>
                  <a:lnTo>
                    <a:pt x="10280" y="69177"/>
                  </a:lnTo>
                  <a:lnTo>
                    <a:pt x="14209" y="54453"/>
                  </a:lnTo>
                  <a:lnTo>
                    <a:pt x="0" y="47893"/>
                  </a:lnTo>
                  <a:lnTo>
                    <a:pt x="5124" y="38955"/>
                  </a:lnTo>
                  <a:lnTo>
                    <a:pt x="19555" y="29800"/>
                  </a:lnTo>
                  <a:lnTo>
                    <a:pt x="2894" y="16762"/>
                  </a:lnTo>
                  <a:lnTo>
                    <a:pt x="11049" y="0"/>
                  </a:lnTo>
                  <a:lnTo>
                    <a:pt x="29331" y="10683"/>
                  </a:lnTo>
                  <a:lnTo>
                    <a:pt x="40350" y="11901"/>
                  </a:lnTo>
                  <a:lnTo>
                    <a:pt x="42387" y="29036"/>
                  </a:lnTo>
                  <a:lnTo>
                    <a:pt x="64350" y="32408"/>
                  </a:lnTo>
                  <a:lnTo>
                    <a:pt x="85757" y="32044"/>
                  </a:lnTo>
                  <a:lnTo>
                    <a:pt x="99066" y="36239"/>
                  </a:lnTo>
                  <a:lnTo>
                    <a:pt x="88423" y="56981"/>
                  </a:lnTo>
                  <a:lnTo>
                    <a:pt x="78097" y="58394"/>
                  </a:lnTo>
                  <a:lnTo>
                    <a:pt x="70969" y="72290"/>
                  </a:lnTo>
                  <a:lnTo>
                    <a:pt x="83607" y="84912"/>
                  </a:lnTo>
                  <a:lnTo>
                    <a:pt x="87380" y="69343"/>
                  </a:lnTo>
                  <a:lnTo>
                    <a:pt x="93754" y="6926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48" name="Freeform 46">
              <a:extLst>
                <a:ext uri="{FF2B5EF4-FFF2-40B4-BE49-F238E27FC236}">
                  <a16:creationId xmlns:a16="http://schemas.microsoft.com/office/drawing/2014/main" id="{E21E700B-FD04-5E49-9908-CE5C5054B4C6}"/>
                </a:ext>
              </a:extLst>
            </p:cNvPr>
            <p:cNvSpPr>
              <a:spLocks noChangeAspect="1"/>
            </p:cNvSpPr>
            <p:nvPr>
              <p:custDataLst>
                <p:tags r:id="rId52"/>
              </p:custDataLst>
            </p:nvPr>
          </p:nvSpPr>
          <p:spPr>
            <a:xfrm>
              <a:off x="4877289" y="3435021"/>
              <a:ext cx="142596" cy="83738"/>
            </a:xfrm>
            <a:custGeom>
              <a:avLst/>
              <a:gdLst/>
              <a:ahLst/>
              <a:cxnLst/>
              <a:rect l="0" t="0" r="0" b="0"/>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49" name="Freeform 47">
              <a:extLst>
                <a:ext uri="{FF2B5EF4-FFF2-40B4-BE49-F238E27FC236}">
                  <a16:creationId xmlns:a16="http://schemas.microsoft.com/office/drawing/2014/main" id="{9F70DBD8-015A-8445-9C7B-21B1FE5591BD}"/>
                </a:ext>
              </a:extLst>
            </p:cNvPr>
            <p:cNvSpPr>
              <a:spLocks noChangeAspect="1"/>
            </p:cNvSpPr>
            <p:nvPr>
              <p:custDataLst>
                <p:tags r:id="rId53"/>
              </p:custDataLst>
            </p:nvPr>
          </p:nvSpPr>
          <p:spPr>
            <a:xfrm>
              <a:off x="4724239" y="3406597"/>
              <a:ext cx="88864" cy="72954"/>
            </a:xfrm>
            <a:custGeom>
              <a:avLst/>
              <a:gdLst/>
              <a:ahLst/>
              <a:cxnLst/>
              <a:rect l="0" t="0" r="0" b="0"/>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50" name="Freeform 48">
              <a:extLst>
                <a:ext uri="{FF2B5EF4-FFF2-40B4-BE49-F238E27FC236}">
                  <a16:creationId xmlns:a16="http://schemas.microsoft.com/office/drawing/2014/main" id="{369B48BC-5AB3-1945-B568-F32BD52779AA}"/>
                </a:ext>
              </a:extLst>
            </p:cNvPr>
            <p:cNvSpPr>
              <a:spLocks noChangeAspect="1"/>
            </p:cNvSpPr>
            <p:nvPr>
              <p:custDataLst>
                <p:tags r:id="rId54"/>
              </p:custDataLst>
            </p:nvPr>
          </p:nvSpPr>
          <p:spPr>
            <a:xfrm>
              <a:off x="4896193" y="3073544"/>
              <a:ext cx="219151" cy="153132"/>
            </a:xfrm>
            <a:custGeom>
              <a:avLst/>
              <a:gdLst/>
              <a:ahLst/>
              <a:cxnLst/>
              <a:rect l="0" t="0" r="0" b="0"/>
              <a:pathLst>
                <a:path w="219151" h="153132">
                  <a:moveTo>
                    <a:pt x="6570" y="72461"/>
                  </a:moveTo>
                  <a:lnTo>
                    <a:pt x="28881" y="72676"/>
                  </a:lnTo>
                  <a:lnTo>
                    <a:pt x="53941" y="60733"/>
                  </a:lnTo>
                  <a:lnTo>
                    <a:pt x="59298" y="42722"/>
                  </a:lnTo>
                  <a:lnTo>
                    <a:pt x="78222" y="32446"/>
                  </a:lnTo>
                  <a:lnTo>
                    <a:pt x="76053" y="17996"/>
                  </a:lnTo>
                  <a:lnTo>
                    <a:pt x="90091" y="12547"/>
                  </a:lnTo>
                  <a:lnTo>
                    <a:pt x="114887" y="0"/>
                  </a:lnTo>
                  <a:lnTo>
                    <a:pt x="139189" y="8164"/>
                  </a:lnTo>
                  <a:lnTo>
                    <a:pt x="142468" y="16216"/>
                  </a:lnTo>
                  <a:lnTo>
                    <a:pt x="154580" y="12347"/>
                  </a:lnTo>
                  <a:lnTo>
                    <a:pt x="177146" y="20070"/>
                  </a:lnTo>
                  <a:lnTo>
                    <a:pt x="179406" y="35198"/>
                  </a:lnTo>
                  <a:lnTo>
                    <a:pt x="174460" y="43849"/>
                  </a:lnTo>
                  <a:lnTo>
                    <a:pt x="188931" y="64714"/>
                  </a:lnTo>
                  <a:lnTo>
                    <a:pt x="198325" y="70495"/>
                  </a:lnTo>
                  <a:lnTo>
                    <a:pt x="196936" y="76205"/>
                  </a:lnTo>
                  <a:lnTo>
                    <a:pt x="212501" y="81756"/>
                  </a:lnTo>
                  <a:lnTo>
                    <a:pt x="219150" y="90143"/>
                  </a:lnTo>
                  <a:lnTo>
                    <a:pt x="210168" y="97000"/>
                  </a:lnTo>
                  <a:lnTo>
                    <a:pt x="191543" y="95913"/>
                  </a:lnTo>
                  <a:lnTo>
                    <a:pt x="187101" y="98838"/>
                  </a:lnTo>
                  <a:lnTo>
                    <a:pt x="192522" y="109202"/>
                  </a:lnTo>
                  <a:lnTo>
                    <a:pt x="198199" y="129073"/>
                  </a:lnTo>
                  <a:lnTo>
                    <a:pt x="178384" y="130906"/>
                  </a:lnTo>
                  <a:lnTo>
                    <a:pt x="171272" y="137677"/>
                  </a:lnTo>
                  <a:lnTo>
                    <a:pt x="169787" y="153131"/>
                  </a:lnTo>
                  <a:lnTo>
                    <a:pt x="160606" y="150171"/>
                  </a:lnTo>
                  <a:lnTo>
                    <a:pt x="139776" y="151639"/>
                  </a:lnTo>
                  <a:lnTo>
                    <a:pt x="133726" y="144467"/>
                  </a:lnTo>
                  <a:lnTo>
                    <a:pt x="125064" y="149816"/>
                  </a:lnTo>
                  <a:lnTo>
                    <a:pt x="116386" y="145383"/>
                  </a:lnTo>
                  <a:lnTo>
                    <a:pt x="98207" y="144767"/>
                  </a:lnTo>
                  <a:lnTo>
                    <a:pt x="72444" y="137385"/>
                  </a:lnTo>
                  <a:lnTo>
                    <a:pt x="49126" y="134970"/>
                  </a:lnTo>
                  <a:lnTo>
                    <a:pt x="31245" y="135654"/>
                  </a:lnTo>
                  <a:lnTo>
                    <a:pt x="18595" y="143994"/>
                  </a:lnTo>
                  <a:lnTo>
                    <a:pt x="7561" y="145192"/>
                  </a:lnTo>
                  <a:lnTo>
                    <a:pt x="7121" y="131484"/>
                  </a:lnTo>
                  <a:lnTo>
                    <a:pt x="0" y="117136"/>
                  </a:lnTo>
                  <a:lnTo>
                    <a:pt x="13843" y="110789"/>
                  </a:lnTo>
                  <a:lnTo>
                    <a:pt x="13975" y="98346"/>
                  </a:lnTo>
                  <a:lnTo>
                    <a:pt x="7572" y="8641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51" name="Freeform 49">
              <a:extLst>
                <a:ext uri="{FF2B5EF4-FFF2-40B4-BE49-F238E27FC236}">
                  <a16:creationId xmlns:a16="http://schemas.microsoft.com/office/drawing/2014/main" id="{BE68B107-A7E6-5540-9240-F89D6BA8468E}"/>
                </a:ext>
              </a:extLst>
            </p:cNvPr>
            <p:cNvSpPr>
              <a:spLocks noChangeAspect="1"/>
            </p:cNvSpPr>
            <p:nvPr>
              <p:custDataLst>
                <p:tags r:id="rId55"/>
              </p:custDataLst>
            </p:nvPr>
          </p:nvSpPr>
          <p:spPr>
            <a:xfrm>
              <a:off x="6996821" y="4402101"/>
              <a:ext cx="28778" cy="33315"/>
            </a:xfrm>
            <a:custGeom>
              <a:avLst/>
              <a:gdLst/>
              <a:ahLst/>
              <a:cxnLst/>
              <a:rect l="0" t="0" r="0" b="0"/>
              <a:pathLst>
                <a:path w="28778" h="33315">
                  <a:moveTo>
                    <a:pt x="0" y="21331"/>
                  </a:moveTo>
                  <a:lnTo>
                    <a:pt x="9139" y="12676"/>
                  </a:lnTo>
                  <a:lnTo>
                    <a:pt x="28777" y="0"/>
                  </a:lnTo>
                  <a:lnTo>
                    <a:pt x="27738" y="11398"/>
                  </a:lnTo>
                  <a:lnTo>
                    <a:pt x="26394" y="26170"/>
                  </a:lnTo>
                  <a:lnTo>
                    <a:pt x="15363" y="25437"/>
                  </a:lnTo>
                  <a:lnTo>
                    <a:pt x="10516" y="3331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52" name="Freeform 50">
              <a:extLst>
                <a:ext uri="{FF2B5EF4-FFF2-40B4-BE49-F238E27FC236}">
                  <a16:creationId xmlns:a16="http://schemas.microsoft.com/office/drawing/2014/main" id="{32E6B099-10EE-7A4D-B31E-92EBD9E93E95}"/>
                </a:ext>
              </a:extLst>
            </p:cNvPr>
            <p:cNvSpPr>
              <a:spLocks noChangeAspect="1"/>
            </p:cNvSpPr>
            <p:nvPr>
              <p:custDataLst>
                <p:tags r:id="rId56"/>
              </p:custDataLst>
            </p:nvPr>
          </p:nvSpPr>
          <p:spPr>
            <a:xfrm>
              <a:off x="6410757" y="3857125"/>
              <a:ext cx="75931" cy="39265"/>
            </a:xfrm>
            <a:custGeom>
              <a:avLst/>
              <a:gdLst/>
              <a:ahLst/>
              <a:cxnLst/>
              <a:rect l="0" t="0" r="0" b="0"/>
              <a:pathLst>
                <a:path w="75931" h="39265">
                  <a:moveTo>
                    <a:pt x="66534" y="13103"/>
                  </a:moveTo>
                  <a:lnTo>
                    <a:pt x="75930" y="21053"/>
                  </a:lnTo>
                  <a:lnTo>
                    <a:pt x="74309" y="36316"/>
                  </a:lnTo>
                  <a:lnTo>
                    <a:pt x="55474" y="37052"/>
                  </a:lnTo>
                  <a:lnTo>
                    <a:pt x="35986" y="35388"/>
                  </a:lnTo>
                  <a:lnTo>
                    <a:pt x="21473" y="39264"/>
                  </a:lnTo>
                  <a:lnTo>
                    <a:pt x="494" y="29846"/>
                  </a:lnTo>
                  <a:lnTo>
                    <a:pt x="0" y="24867"/>
                  </a:lnTo>
                  <a:lnTo>
                    <a:pt x="15271" y="6340"/>
                  </a:lnTo>
                  <a:lnTo>
                    <a:pt x="27736" y="0"/>
                  </a:lnTo>
                  <a:lnTo>
                    <a:pt x="44232" y="5786"/>
                  </a:lnTo>
                  <a:lnTo>
                    <a:pt x="56428" y="639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53" name="Freeform 51">
              <a:extLst>
                <a:ext uri="{FF2B5EF4-FFF2-40B4-BE49-F238E27FC236}">
                  <a16:creationId xmlns:a16="http://schemas.microsoft.com/office/drawing/2014/main" id="{537B688B-57E8-F84C-B0E1-6C790C2D6BCE}"/>
                </a:ext>
              </a:extLst>
            </p:cNvPr>
            <p:cNvSpPr>
              <a:spLocks noChangeAspect="1"/>
            </p:cNvSpPr>
            <p:nvPr>
              <p:custDataLst>
                <p:tags r:id="rId57"/>
              </p:custDataLst>
            </p:nvPr>
          </p:nvSpPr>
          <p:spPr>
            <a:xfrm>
              <a:off x="4819927" y="4939848"/>
              <a:ext cx="220134" cy="222411"/>
            </a:xfrm>
            <a:custGeom>
              <a:avLst/>
              <a:gdLst/>
              <a:ahLst/>
              <a:cxnLst/>
              <a:rect l="0" t="0" r="0" b="0"/>
              <a:pathLst>
                <a:path w="220134" h="222411">
                  <a:moveTo>
                    <a:pt x="132811" y="20842"/>
                  </a:moveTo>
                  <a:lnTo>
                    <a:pt x="137456" y="25103"/>
                  </a:lnTo>
                  <a:lnTo>
                    <a:pt x="144713" y="38945"/>
                  </a:lnTo>
                  <a:lnTo>
                    <a:pt x="170836" y="65305"/>
                  </a:lnTo>
                  <a:lnTo>
                    <a:pt x="180721" y="67892"/>
                  </a:lnTo>
                  <a:lnTo>
                    <a:pt x="180778" y="76386"/>
                  </a:lnTo>
                  <a:lnTo>
                    <a:pt x="187568" y="91688"/>
                  </a:lnTo>
                  <a:lnTo>
                    <a:pt x="205417" y="95397"/>
                  </a:lnTo>
                  <a:lnTo>
                    <a:pt x="220133" y="106333"/>
                  </a:lnTo>
                  <a:lnTo>
                    <a:pt x="187472" y="124204"/>
                  </a:lnTo>
                  <a:lnTo>
                    <a:pt x="166748" y="142382"/>
                  </a:lnTo>
                  <a:lnTo>
                    <a:pt x="159061" y="158662"/>
                  </a:lnTo>
                  <a:lnTo>
                    <a:pt x="152121" y="167863"/>
                  </a:lnTo>
                  <a:lnTo>
                    <a:pt x="139562" y="169826"/>
                  </a:lnTo>
                  <a:lnTo>
                    <a:pt x="135504" y="181575"/>
                  </a:lnTo>
                  <a:lnTo>
                    <a:pt x="133169" y="189252"/>
                  </a:lnTo>
                  <a:lnTo>
                    <a:pt x="118407" y="194989"/>
                  </a:lnTo>
                  <a:lnTo>
                    <a:pt x="99620" y="193770"/>
                  </a:lnTo>
                  <a:lnTo>
                    <a:pt x="88594" y="186871"/>
                  </a:lnTo>
                  <a:lnTo>
                    <a:pt x="78865" y="183883"/>
                  </a:lnTo>
                  <a:lnTo>
                    <a:pt x="67605" y="189588"/>
                  </a:lnTo>
                  <a:lnTo>
                    <a:pt x="61956" y="201399"/>
                  </a:lnTo>
                  <a:lnTo>
                    <a:pt x="51025" y="208831"/>
                  </a:lnTo>
                  <a:lnTo>
                    <a:pt x="39481" y="219880"/>
                  </a:lnTo>
                  <a:lnTo>
                    <a:pt x="22948" y="222410"/>
                  </a:lnTo>
                  <a:lnTo>
                    <a:pt x="17797" y="213710"/>
                  </a:lnTo>
                  <a:lnTo>
                    <a:pt x="19924" y="198651"/>
                  </a:lnTo>
                  <a:lnTo>
                    <a:pt x="6238" y="175264"/>
                  </a:lnTo>
                  <a:lnTo>
                    <a:pt x="7" y="171578"/>
                  </a:lnTo>
                  <a:lnTo>
                    <a:pt x="0" y="100470"/>
                  </a:lnTo>
                  <a:lnTo>
                    <a:pt x="22752" y="99627"/>
                  </a:lnTo>
                  <a:lnTo>
                    <a:pt x="23433" y="14069"/>
                  </a:lnTo>
                  <a:lnTo>
                    <a:pt x="40616" y="13280"/>
                  </a:lnTo>
                  <a:lnTo>
                    <a:pt x="76205" y="4935"/>
                  </a:lnTo>
                  <a:lnTo>
                    <a:pt x="85026" y="14762"/>
                  </a:lnTo>
                  <a:lnTo>
                    <a:pt x="99761" y="5419"/>
                  </a:lnTo>
                  <a:lnTo>
                    <a:pt x="106763" y="5366"/>
                  </a:lnTo>
                  <a:lnTo>
                    <a:pt x="119775" y="0"/>
                  </a:lnTo>
                  <a:lnTo>
                    <a:pt x="123925" y="177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54" name="Freeform 52">
              <a:extLst>
                <a:ext uri="{FF2B5EF4-FFF2-40B4-BE49-F238E27FC236}">
                  <a16:creationId xmlns:a16="http://schemas.microsoft.com/office/drawing/2014/main" id="{265998E9-5C64-5846-B24E-EF12CCAB2727}"/>
                </a:ext>
              </a:extLst>
            </p:cNvPr>
            <p:cNvSpPr>
              <a:spLocks noChangeAspect="1"/>
            </p:cNvSpPr>
            <p:nvPr>
              <p:custDataLst>
                <p:tags r:id="rId58"/>
              </p:custDataLst>
            </p:nvPr>
          </p:nvSpPr>
          <p:spPr>
            <a:xfrm>
              <a:off x="4694448" y="4269730"/>
              <a:ext cx="298110" cy="205890"/>
            </a:xfrm>
            <a:custGeom>
              <a:avLst/>
              <a:gdLst/>
              <a:ahLst/>
              <a:cxnLst/>
              <a:rect l="0" t="0" r="0" b="0"/>
              <a:pathLst>
                <a:path w="298110" h="205890">
                  <a:moveTo>
                    <a:pt x="18929" y="86615"/>
                  </a:moveTo>
                  <a:lnTo>
                    <a:pt x="38014" y="84871"/>
                  </a:lnTo>
                  <a:lnTo>
                    <a:pt x="42268" y="78900"/>
                  </a:lnTo>
                  <a:lnTo>
                    <a:pt x="46091" y="79353"/>
                  </a:lnTo>
                  <a:lnTo>
                    <a:pt x="51857" y="84610"/>
                  </a:lnTo>
                  <a:lnTo>
                    <a:pt x="80917" y="75728"/>
                  </a:lnTo>
                  <a:lnTo>
                    <a:pt x="90718" y="66658"/>
                  </a:lnTo>
                  <a:lnTo>
                    <a:pt x="102755" y="58533"/>
                  </a:lnTo>
                  <a:lnTo>
                    <a:pt x="100470" y="50345"/>
                  </a:lnTo>
                  <a:lnTo>
                    <a:pt x="106979" y="48206"/>
                  </a:lnTo>
                  <a:lnTo>
                    <a:pt x="129270" y="49652"/>
                  </a:lnTo>
                  <a:lnTo>
                    <a:pt x="150995" y="38869"/>
                  </a:lnTo>
                  <a:lnTo>
                    <a:pt x="167682" y="13435"/>
                  </a:lnTo>
                  <a:lnTo>
                    <a:pt x="179392" y="3984"/>
                  </a:lnTo>
                  <a:lnTo>
                    <a:pt x="194005" y="0"/>
                  </a:lnTo>
                  <a:lnTo>
                    <a:pt x="196622" y="9994"/>
                  </a:lnTo>
                  <a:lnTo>
                    <a:pt x="209935" y="24580"/>
                  </a:lnTo>
                  <a:lnTo>
                    <a:pt x="210003" y="34088"/>
                  </a:lnTo>
                  <a:lnTo>
                    <a:pt x="206252" y="43779"/>
                  </a:lnTo>
                  <a:lnTo>
                    <a:pt x="207735" y="51011"/>
                  </a:lnTo>
                  <a:lnTo>
                    <a:pt x="215740" y="57709"/>
                  </a:lnTo>
                  <a:lnTo>
                    <a:pt x="233319" y="67870"/>
                  </a:lnTo>
                  <a:lnTo>
                    <a:pt x="245958" y="77256"/>
                  </a:lnTo>
                  <a:lnTo>
                    <a:pt x="246171" y="84801"/>
                  </a:lnTo>
                  <a:lnTo>
                    <a:pt x="261694" y="96884"/>
                  </a:lnTo>
                  <a:lnTo>
                    <a:pt x="271314" y="106916"/>
                  </a:lnTo>
                  <a:lnTo>
                    <a:pt x="277142" y="120816"/>
                  </a:lnTo>
                  <a:lnTo>
                    <a:pt x="294397" y="129981"/>
                  </a:lnTo>
                  <a:lnTo>
                    <a:pt x="298109" y="137320"/>
                  </a:lnTo>
                  <a:lnTo>
                    <a:pt x="290488" y="139775"/>
                  </a:lnTo>
                  <a:lnTo>
                    <a:pt x="275685" y="139242"/>
                  </a:lnTo>
                  <a:lnTo>
                    <a:pt x="258319" y="136807"/>
                  </a:lnTo>
                  <a:lnTo>
                    <a:pt x="249741" y="138790"/>
                  </a:lnTo>
                  <a:lnTo>
                    <a:pt x="246279" y="144417"/>
                  </a:lnTo>
                  <a:lnTo>
                    <a:pt x="238805" y="145111"/>
                  </a:lnTo>
                  <a:lnTo>
                    <a:pt x="229699" y="140216"/>
                  </a:lnTo>
                  <a:lnTo>
                    <a:pt x="204001" y="151763"/>
                  </a:lnTo>
                  <a:lnTo>
                    <a:pt x="193481" y="149440"/>
                  </a:lnTo>
                  <a:lnTo>
                    <a:pt x="190310" y="151223"/>
                  </a:lnTo>
                  <a:lnTo>
                    <a:pt x="183409" y="165188"/>
                  </a:lnTo>
                  <a:lnTo>
                    <a:pt x="166189" y="160675"/>
                  </a:lnTo>
                  <a:lnTo>
                    <a:pt x="149303" y="158399"/>
                  </a:lnTo>
                  <a:lnTo>
                    <a:pt x="134602" y="149867"/>
                  </a:lnTo>
                  <a:lnTo>
                    <a:pt x="115607" y="142004"/>
                  </a:lnTo>
                  <a:lnTo>
                    <a:pt x="103247" y="149454"/>
                  </a:lnTo>
                  <a:lnTo>
                    <a:pt x="94260" y="161196"/>
                  </a:lnTo>
                  <a:lnTo>
                    <a:pt x="92185" y="177318"/>
                  </a:lnTo>
                  <a:lnTo>
                    <a:pt x="77339" y="176028"/>
                  </a:lnTo>
                  <a:lnTo>
                    <a:pt x="61715" y="172145"/>
                  </a:lnTo>
                  <a:lnTo>
                    <a:pt x="47958" y="184392"/>
                  </a:lnTo>
                  <a:lnTo>
                    <a:pt x="35858" y="205889"/>
                  </a:lnTo>
                  <a:lnTo>
                    <a:pt x="33423" y="199197"/>
                  </a:lnTo>
                  <a:lnTo>
                    <a:pt x="32393" y="188659"/>
                  </a:lnTo>
                  <a:lnTo>
                    <a:pt x="21836" y="181225"/>
                  </a:lnTo>
                  <a:lnTo>
                    <a:pt x="13315" y="169298"/>
                  </a:lnTo>
                  <a:lnTo>
                    <a:pt x="11347" y="160998"/>
                  </a:lnTo>
                  <a:lnTo>
                    <a:pt x="438" y="148920"/>
                  </a:lnTo>
                  <a:lnTo>
                    <a:pt x="2297" y="142026"/>
                  </a:lnTo>
                  <a:lnTo>
                    <a:pt x="0" y="132278"/>
                  </a:lnTo>
                  <a:lnTo>
                    <a:pt x="1781" y="114324"/>
                  </a:lnTo>
                  <a:lnTo>
                    <a:pt x="7321" y="11011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55" name="Freeform 53">
              <a:extLst>
                <a:ext uri="{FF2B5EF4-FFF2-40B4-BE49-F238E27FC236}">
                  <a16:creationId xmlns:a16="http://schemas.microsoft.com/office/drawing/2014/main" id="{1A07D711-C09B-CA4B-BFD3-B3E9F15C317C}"/>
                </a:ext>
              </a:extLst>
            </p:cNvPr>
            <p:cNvSpPr>
              <a:spLocks noChangeAspect="1"/>
            </p:cNvSpPr>
            <p:nvPr>
              <p:custDataLst>
                <p:tags r:id="rId59"/>
              </p:custDataLst>
            </p:nvPr>
          </p:nvSpPr>
          <p:spPr>
            <a:xfrm>
              <a:off x="6061310" y="3160312"/>
              <a:ext cx="1416144" cy="943012"/>
            </a:xfrm>
            <a:custGeom>
              <a:avLst/>
              <a:gdLst/>
              <a:ahLst/>
              <a:cxnLst/>
              <a:rect l="l" t="t" r="r" b="b"/>
              <a:pathLst>
                <a:path w="1416144" h="943012">
                  <a:moveTo>
                    <a:pt x="843354" y="897452"/>
                  </a:moveTo>
                  <a:lnTo>
                    <a:pt x="856626" y="898022"/>
                  </a:lnTo>
                  <a:lnTo>
                    <a:pt x="861784" y="907181"/>
                  </a:lnTo>
                  <a:lnTo>
                    <a:pt x="851642" y="917726"/>
                  </a:lnTo>
                  <a:lnTo>
                    <a:pt x="846299" y="931538"/>
                  </a:lnTo>
                  <a:lnTo>
                    <a:pt x="826356" y="943012"/>
                  </a:lnTo>
                  <a:lnTo>
                    <a:pt x="807429" y="935615"/>
                  </a:lnTo>
                  <a:lnTo>
                    <a:pt x="806760" y="915044"/>
                  </a:lnTo>
                  <a:lnTo>
                    <a:pt x="818135" y="904180"/>
                  </a:lnTo>
                  <a:close/>
                  <a:moveTo>
                    <a:pt x="1151736" y="0"/>
                  </a:moveTo>
                  <a:lnTo>
                    <a:pt x="1186285" y="9344"/>
                  </a:lnTo>
                  <a:lnTo>
                    <a:pt x="1206555" y="20851"/>
                  </a:lnTo>
                  <a:lnTo>
                    <a:pt x="1220820" y="52095"/>
                  </a:lnTo>
                  <a:lnTo>
                    <a:pt x="1229471" y="65309"/>
                  </a:lnTo>
                  <a:lnTo>
                    <a:pt x="1237510" y="84045"/>
                  </a:lnTo>
                  <a:lnTo>
                    <a:pt x="1246050" y="113648"/>
                  </a:lnTo>
                  <a:lnTo>
                    <a:pt x="1286223" y="123236"/>
                  </a:lnTo>
                  <a:lnTo>
                    <a:pt x="1313564" y="144432"/>
                  </a:lnTo>
                  <a:lnTo>
                    <a:pt x="1322913" y="172186"/>
                  </a:lnTo>
                  <a:lnTo>
                    <a:pt x="1357984" y="172220"/>
                  </a:lnTo>
                  <a:lnTo>
                    <a:pt x="1377995" y="160603"/>
                  </a:lnTo>
                  <a:lnTo>
                    <a:pt x="1416144" y="151888"/>
                  </a:lnTo>
                  <a:lnTo>
                    <a:pt x="1404014" y="178399"/>
                  </a:lnTo>
                  <a:lnTo>
                    <a:pt x="1395048" y="189107"/>
                  </a:lnTo>
                  <a:lnTo>
                    <a:pt x="1387137" y="220911"/>
                  </a:lnTo>
                  <a:lnTo>
                    <a:pt x="1371614" y="248849"/>
                  </a:lnTo>
                  <a:lnTo>
                    <a:pt x="1343598" y="243784"/>
                  </a:lnTo>
                  <a:lnTo>
                    <a:pt x="1323788" y="253877"/>
                  </a:lnTo>
                  <a:lnTo>
                    <a:pt x="1329867" y="278199"/>
                  </a:lnTo>
                  <a:lnTo>
                    <a:pt x="1326546" y="311420"/>
                  </a:lnTo>
                  <a:lnTo>
                    <a:pt x="1314755" y="312174"/>
                  </a:lnTo>
                  <a:lnTo>
                    <a:pt x="1314897" y="326338"/>
                  </a:lnTo>
                  <a:lnTo>
                    <a:pt x="1299991" y="309871"/>
                  </a:lnTo>
                  <a:lnTo>
                    <a:pt x="1290813" y="325504"/>
                  </a:lnTo>
                  <a:lnTo>
                    <a:pt x="1255163" y="337463"/>
                  </a:lnTo>
                  <a:lnTo>
                    <a:pt x="1258769" y="352046"/>
                  </a:lnTo>
                  <a:lnTo>
                    <a:pt x="1238811" y="351043"/>
                  </a:lnTo>
                  <a:lnTo>
                    <a:pt x="1227853" y="342384"/>
                  </a:lnTo>
                  <a:lnTo>
                    <a:pt x="1211995" y="361942"/>
                  </a:lnTo>
                  <a:lnTo>
                    <a:pt x="1186555" y="376681"/>
                  </a:lnTo>
                  <a:lnTo>
                    <a:pt x="1167759" y="394176"/>
                  </a:lnTo>
                  <a:lnTo>
                    <a:pt x="1135488" y="402073"/>
                  </a:lnTo>
                  <a:lnTo>
                    <a:pt x="1118495" y="414728"/>
                  </a:lnTo>
                  <a:lnTo>
                    <a:pt x="1093638" y="422097"/>
                  </a:lnTo>
                  <a:lnTo>
                    <a:pt x="1105906" y="409578"/>
                  </a:lnTo>
                  <a:lnTo>
                    <a:pt x="1101076" y="399020"/>
                  </a:lnTo>
                  <a:lnTo>
                    <a:pt x="1119353" y="380710"/>
                  </a:lnTo>
                  <a:lnTo>
                    <a:pt x="1107161" y="366363"/>
                  </a:lnTo>
                  <a:lnTo>
                    <a:pt x="1087039" y="376037"/>
                  </a:lnTo>
                  <a:lnTo>
                    <a:pt x="1060978" y="395004"/>
                  </a:lnTo>
                  <a:lnTo>
                    <a:pt x="1046755" y="412515"/>
                  </a:lnTo>
                  <a:lnTo>
                    <a:pt x="1024118" y="413814"/>
                  </a:lnTo>
                  <a:lnTo>
                    <a:pt x="1012345" y="426404"/>
                  </a:lnTo>
                  <a:lnTo>
                    <a:pt x="1024509" y="444559"/>
                  </a:lnTo>
                  <a:lnTo>
                    <a:pt x="1043401" y="448951"/>
                  </a:lnTo>
                  <a:lnTo>
                    <a:pt x="1044175" y="460932"/>
                  </a:lnTo>
                  <a:lnTo>
                    <a:pt x="1062436" y="468704"/>
                  </a:lnTo>
                  <a:lnTo>
                    <a:pt x="1088304" y="449671"/>
                  </a:lnTo>
                  <a:lnTo>
                    <a:pt x="1108797" y="460061"/>
                  </a:lnTo>
                  <a:lnTo>
                    <a:pt x="1123724" y="460771"/>
                  </a:lnTo>
                  <a:lnTo>
                    <a:pt x="1127465" y="474700"/>
                  </a:lnTo>
                  <a:lnTo>
                    <a:pt x="1094783" y="482102"/>
                  </a:lnTo>
                  <a:lnTo>
                    <a:pt x="1084001" y="496365"/>
                  </a:lnTo>
                  <a:lnTo>
                    <a:pt x="1061553" y="509565"/>
                  </a:lnTo>
                  <a:lnTo>
                    <a:pt x="1049704" y="527899"/>
                  </a:lnTo>
                  <a:lnTo>
                    <a:pt x="1074549" y="542227"/>
                  </a:lnTo>
                  <a:lnTo>
                    <a:pt x="1083616" y="567730"/>
                  </a:lnTo>
                  <a:lnTo>
                    <a:pt x="1097665" y="591333"/>
                  </a:lnTo>
                  <a:lnTo>
                    <a:pt x="1113342" y="611004"/>
                  </a:lnTo>
                  <a:lnTo>
                    <a:pt x="1112967" y="629932"/>
                  </a:lnTo>
                  <a:lnTo>
                    <a:pt x="1098479" y="636867"/>
                  </a:lnTo>
                  <a:lnTo>
                    <a:pt x="1104002" y="650378"/>
                  </a:lnTo>
                  <a:lnTo>
                    <a:pt x="1117588" y="658220"/>
                  </a:lnTo>
                  <a:lnTo>
                    <a:pt x="1114041" y="678728"/>
                  </a:lnTo>
                  <a:lnTo>
                    <a:pt x="1108178" y="698586"/>
                  </a:lnTo>
                  <a:lnTo>
                    <a:pt x="1095280" y="700831"/>
                  </a:lnTo>
                  <a:lnTo>
                    <a:pt x="1078425" y="727795"/>
                  </a:lnTo>
                  <a:lnTo>
                    <a:pt x="1059729" y="760271"/>
                  </a:lnTo>
                  <a:lnTo>
                    <a:pt x="1038294" y="789607"/>
                  </a:lnTo>
                  <a:lnTo>
                    <a:pt x="1006549" y="812174"/>
                  </a:lnTo>
                  <a:lnTo>
                    <a:pt x="974443" y="832667"/>
                  </a:lnTo>
                  <a:lnTo>
                    <a:pt x="948432" y="835456"/>
                  </a:lnTo>
                  <a:lnTo>
                    <a:pt x="934322" y="846237"/>
                  </a:lnTo>
                  <a:lnTo>
                    <a:pt x="926341" y="838364"/>
                  </a:lnTo>
                  <a:lnTo>
                    <a:pt x="913283" y="850415"/>
                  </a:lnTo>
                  <a:lnTo>
                    <a:pt x="881025" y="862533"/>
                  </a:lnTo>
                  <a:lnTo>
                    <a:pt x="856601" y="866239"/>
                  </a:lnTo>
                  <a:lnTo>
                    <a:pt x="848719" y="891689"/>
                  </a:lnTo>
                  <a:lnTo>
                    <a:pt x="835928" y="893098"/>
                  </a:lnTo>
                  <a:lnTo>
                    <a:pt x="829875" y="875624"/>
                  </a:lnTo>
                  <a:lnTo>
                    <a:pt x="835342" y="866289"/>
                  </a:lnTo>
                  <a:lnTo>
                    <a:pt x="804372" y="858551"/>
                  </a:lnTo>
                  <a:lnTo>
                    <a:pt x="793463" y="862488"/>
                  </a:lnTo>
                  <a:lnTo>
                    <a:pt x="770224" y="856212"/>
                  </a:lnTo>
                  <a:lnTo>
                    <a:pt x="759233" y="846372"/>
                  </a:lnTo>
                  <a:lnTo>
                    <a:pt x="762883" y="832391"/>
                  </a:lnTo>
                  <a:lnTo>
                    <a:pt x="741782" y="827950"/>
                  </a:lnTo>
                  <a:lnTo>
                    <a:pt x="730656" y="818817"/>
                  </a:lnTo>
                  <a:lnTo>
                    <a:pt x="710981" y="831786"/>
                  </a:lnTo>
                  <a:lnTo>
                    <a:pt x="688537" y="834590"/>
                  </a:lnTo>
                  <a:lnTo>
                    <a:pt x="670128" y="834467"/>
                  </a:lnTo>
                  <a:lnTo>
                    <a:pt x="657742" y="840393"/>
                  </a:lnTo>
                  <a:lnTo>
                    <a:pt x="645776" y="843948"/>
                  </a:lnTo>
                  <a:lnTo>
                    <a:pt x="649264" y="871616"/>
                  </a:lnTo>
                  <a:lnTo>
                    <a:pt x="636958" y="870958"/>
                  </a:lnTo>
                  <a:lnTo>
                    <a:pt x="634881" y="865286"/>
                  </a:lnTo>
                  <a:lnTo>
                    <a:pt x="634189" y="855290"/>
                  </a:lnTo>
                  <a:lnTo>
                    <a:pt x="617258" y="862332"/>
                  </a:lnTo>
                  <a:lnTo>
                    <a:pt x="607262" y="857880"/>
                  </a:lnTo>
                  <a:lnTo>
                    <a:pt x="590121" y="848793"/>
                  </a:lnTo>
                  <a:lnTo>
                    <a:pt x="596840" y="828628"/>
                  </a:lnTo>
                  <a:lnTo>
                    <a:pt x="582223" y="823915"/>
                  </a:lnTo>
                  <a:lnTo>
                    <a:pt x="576719" y="801457"/>
                  </a:lnTo>
                  <a:lnTo>
                    <a:pt x="552354" y="805511"/>
                  </a:lnTo>
                  <a:lnTo>
                    <a:pt x="555121" y="776447"/>
                  </a:lnTo>
                  <a:lnTo>
                    <a:pt x="576985" y="755881"/>
                  </a:lnTo>
                  <a:lnTo>
                    <a:pt x="577915" y="735478"/>
                  </a:lnTo>
                  <a:lnTo>
                    <a:pt x="577237" y="716466"/>
                  </a:lnTo>
                  <a:lnTo>
                    <a:pt x="567161" y="710526"/>
                  </a:lnTo>
                  <a:lnTo>
                    <a:pt x="559446" y="695824"/>
                  </a:lnTo>
                  <a:lnTo>
                    <a:pt x="545945" y="697684"/>
                  </a:lnTo>
                  <a:lnTo>
                    <a:pt x="521056" y="693946"/>
                  </a:lnTo>
                  <a:lnTo>
                    <a:pt x="528853" y="683423"/>
                  </a:lnTo>
                  <a:lnTo>
                    <a:pt x="518028" y="667794"/>
                  </a:lnTo>
                  <a:lnTo>
                    <a:pt x="501574" y="678384"/>
                  </a:lnTo>
                  <a:lnTo>
                    <a:pt x="482211" y="672207"/>
                  </a:lnTo>
                  <a:lnTo>
                    <a:pt x="455605" y="688196"/>
                  </a:lnTo>
                  <a:lnTo>
                    <a:pt x="434595" y="706794"/>
                  </a:lnTo>
                  <a:lnTo>
                    <a:pt x="415980" y="709915"/>
                  </a:lnTo>
                  <a:lnTo>
                    <a:pt x="405874" y="703206"/>
                  </a:lnTo>
                  <a:lnTo>
                    <a:pt x="393678" y="702598"/>
                  </a:lnTo>
                  <a:lnTo>
                    <a:pt x="377182" y="696812"/>
                  </a:lnTo>
                  <a:lnTo>
                    <a:pt x="364717" y="703152"/>
                  </a:lnTo>
                  <a:lnTo>
                    <a:pt x="349446" y="721679"/>
                  </a:lnTo>
                  <a:lnTo>
                    <a:pt x="347509" y="702051"/>
                  </a:lnTo>
                  <a:lnTo>
                    <a:pt x="333431" y="707301"/>
                  </a:lnTo>
                  <a:lnTo>
                    <a:pt x="306519" y="704862"/>
                  </a:lnTo>
                  <a:lnTo>
                    <a:pt x="280407" y="699134"/>
                  </a:lnTo>
                  <a:lnTo>
                    <a:pt x="261672" y="688142"/>
                  </a:lnTo>
                  <a:lnTo>
                    <a:pt x="243735" y="683199"/>
                  </a:lnTo>
                  <a:lnTo>
                    <a:pt x="235989" y="671131"/>
                  </a:lnTo>
                  <a:lnTo>
                    <a:pt x="223019" y="667518"/>
                  </a:lnTo>
                  <a:lnTo>
                    <a:pt x="199715" y="651077"/>
                  </a:lnTo>
                  <a:lnTo>
                    <a:pt x="181209" y="643296"/>
                  </a:lnTo>
                  <a:lnTo>
                    <a:pt x="171640" y="649352"/>
                  </a:lnTo>
                  <a:lnTo>
                    <a:pt x="139558" y="631625"/>
                  </a:lnTo>
                  <a:lnTo>
                    <a:pt x="116880" y="615503"/>
                  </a:lnTo>
                  <a:lnTo>
                    <a:pt x="110406" y="587278"/>
                  </a:lnTo>
                  <a:lnTo>
                    <a:pt x="126973" y="590730"/>
                  </a:lnTo>
                  <a:lnTo>
                    <a:pt x="127729" y="577595"/>
                  </a:lnTo>
                  <a:lnTo>
                    <a:pt x="118546" y="564383"/>
                  </a:lnTo>
                  <a:lnTo>
                    <a:pt x="120882" y="543225"/>
                  </a:lnTo>
                  <a:lnTo>
                    <a:pt x="96072" y="512604"/>
                  </a:lnTo>
                  <a:lnTo>
                    <a:pt x="58110" y="501977"/>
                  </a:lnTo>
                  <a:lnTo>
                    <a:pt x="51279" y="481692"/>
                  </a:lnTo>
                  <a:lnTo>
                    <a:pt x="34224" y="469325"/>
                  </a:lnTo>
                  <a:lnTo>
                    <a:pt x="30114" y="461690"/>
                  </a:lnTo>
                  <a:lnTo>
                    <a:pt x="26652" y="446472"/>
                  </a:lnTo>
                  <a:lnTo>
                    <a:pt x="27456" y="436050"/>
                  </a:lnTo>
                  <a:lnTo>
                    <a:pt x="13438" y="429933"/>
                  </a:lnTo>
                  <a:lnTo>
                    <a:pt x="5851" y="432640"/>
                  </a:lnTo>
                  <a:lnTo>
                    <a:pt x="0" y="407673"/>
                  </a:lnTo>
                  <a:lnTo>
                    <a:pt x="6571" y="401470"/>
                  </a:lnTo>
                  <a:lnTo>
                    <a:pt x="3391" y="395115"/>
                  </a:lnTo>
                  <a:lnTo>
                    <a:pt x="25426" y="382241"/>
                  </a:lnTo>
                  <a:lnTo>
                    <a:pt x="41375" y="376894"/>
                  </a:lnTo>
                  <a:lnTo>
                    <a:pt x="65809" y="380560"/>
                  </a:lnTo>
                  <a:lnTo>
                    <a:pt x="74537" y="363065"/>
                  </a:lnTo>
                  <a:lnTo>
                    <a:pt x="104145" y="359798"/>
                  </a:lnTo>
                  <a:lnTo>
                    <a:pt x="112373" y="348860"/>
                  </a:lnTo>
                  <a:lnTo>
                    <a:pt x="148746" y="333868"/>
                  </a:lnTo>
                  <a:lnTo>
                    <a:pt x="151991" y="327590"/>
                  </a:lnTo>
                  <a:lnTo>
                    <a:pt x="150148" y="311697"/>
                  </a:lnTo>
                  <a:lnTo>
                    <a:pt x="165984" y="304412"/>
                  </a:lnTo>
                  <a:lnTo>
                    <a:pt x="145207" y="255315"/>
                  </a:lnTo>
                  <a:lnTo>
                    <a:pt x="190933" y="243902"/>
                  </a:lnTo>
                  <a:lnTo>
                    <a:pt x="202748" y="237523"/>
                  </a:lnTo>
                  <a:lnTo>
                    <a:pt x="219404" y="185672"/>
                  </a:lnTo>
                  <a:lnTo>
                    <a:pt x="265195" y="195276"/>
                  </a:lnTo>
                  <a:lnTo>
                    <a:pt x="278033" y="182075"/>
                  </a:lnTo>
                  <a:lnTo>
                    <a:pt x="279136" y="152554"/>
                  </a:lnTo>
                  <a:lnTo>
                    <a:pt x="298307" y="149787"/>
                  </a:lnTo>
                  <a:lnTo>
                    <a:pt x="315877" y="129981"/>
                  </a:lnTo>
                  <a:lnTo>
                    <a:pt x="324910" y="127525"/>
                  </a:lnTo>
                  <a:lnTo>
                    <a:pt x="330970" y="148296"/>
                  </a:lnTo>
                  <a:lnTo>
                    <a:pt x="350371" y="163976"/>
                  </a:lnTo>
                  <a:lnTo>
                    <a:pt x="383298" y="175022"/>
                  </a:lnTo>
                  <a:lnTo>
                    <a:pt x="399225" y="198561"/>
                  </a:lnTo>
                  <a:lnTo>
                    <a:pt x="390337" y="232352"/>
                  </a:lnTo>
                  <a:lnTo>
                    <a:pt x="398642" y="244788"/>
                  </a:lnTo>
                  <a:lnTo>
                    <a:pt x="426072" y="249677"/>
                  </a:lnTo>
                  <a:lnTo>
                    <a:pt x="457161" y="253662"/>
                  </a:lnTo>
                  <a:lnTo>
                    <a:pt x="485049" y="271381"/>
                  </a:lnTo>
                  <a:lnTo>
                    <a:pt x="499313" y="274526"/>
                  </a:lnTo>
                  <a:lnTo>
                    <a:pt x="509829" y="300511"/>
                  </a:lnTo>
                  <a:lnTo>
                    <a:pt x="523377" y="317127"/>
                  </a:lnTo>
                  <a:lnTo>
                    <a:pt x="548823" y="316478"/>
                  </a:lnTo>
                  <a:lnTo>
                    <a:pt x="596467" y="322729"/>
                  </a:lnTo>
                  <a:lnTo>
                    <a:pt x="627168" y="318852"/>
                  </a:lnTo>
                  <a:lnTo>
                    <a:pt x="649955" y="323002"/>
                  </a:lnTo>
                  <a:lnTo>
                    <a:pt x="684099" y="339868"/>
                  </a:lnTo>
                  <a:lnTo>
                    <a:pt x="712030" y="339844"/>
                  </a:lnTo>
                  <a:lnTo>
                    <a:pt x="722249" y="348441"/>
                  </a:lnTo>
                  <a:lnTo>
                    <a:pt x="749124" y="333580"/>
                  </a:lnTo>
                  <a:lnTo>
                    <a:pt x="786413" y="323931"/>
                  </a:lnTo>
                  <a:lnTo>
                    <a:pt x="821010" y="322875"/>
                  </a:lnTo>
                  <a:lnTo>
                    <a:pt x="847982" y="313062"/>
                  </a:lnTo>
                  <a:lnTo>
                    <a:pt x="864546" y="298058"/>
                  </a:lnTo>
                  <a:lnTo>
                    <a:pt x="880702" y="288599"/>
                  </a:lnTo>
                  <a:lnTo>
                    <a:pt x="876965" y="279283"/>
                  </a:lnTo>
                  <a:lnTo>
                    <a:pt x="869594" y="268400"/>
                  </a:lnTo>
                  <a:lnTo>
                    <a:pt x="881711" y="250048"/>
                  </a:lnTo>
                  <a:lnTo>
                    <a:pt x="894701" y="252630"/>
                  </a:lnTo>
                  <a:lnTo>
                    <a:pt x="918426" y="258410"/>
                  </a:lnTo>
                  <a:lnTo>
                    <a:pt x="941427" y="243250"/>
                  </a:lnTo>
                  <a:lnTo>
                    <a:pt x="976622" y="232136"/>
                  </a:lnTo>
                  <a:lnTo>
                    <a:pt x="993536" y="213070"/>
                  </a:lnTo>
                  <a:lnTo>
                    <a:pt x="1009782" y="204822"/>
                  </a:lnTo>
                  <a:lnTo>
                    <a:pt x="1043313" y="200967"/>
                  </a:lnTo>
                  <a:lnTo>
                    <a:pt x="1061524" y="204243"/>
                  </a:lnTo>
                  <a:lnTo>
                    <a:pt x="1064053" y="193904"/>
                  </a:lnTo>
                  <a:lnTo>
                    <a:pt x="1043134" y="173451"/>
                  </a:lnTo>
                  <a:lnTo>
                    <a:pt x="1024612" y="164045"/>
                  </a:lnTo>
                  <a:lnTo>
                    <a:pt x="1006870" y="174900"/>
                  </a:lnTo>
                  <a:lnTo>
                    <a:pt x="984098" y="170326"/>
                  </a:lnTo>
                  <a:lnTo>
                    <a:pt x="971030" y="174054"/>
                  </a:lnTo>
                  <a:lnTo>
                    <a:pt x="965085" y="162021"/>
                  </a:lnTo>
                  <a:lnTo>
                    <a:pt x="981393" y="132380"/>
                  </a:lnTo>
                  <a:lnTo>
                    <a:pt x="992634" y="109791"/>
                  </a:lnTo>
                  <a:lnTo>
                    <a:pt x="1020344" y="121128"/>
                  </a:lnTo>
                  <a:lnTo>
                    <a:pt x="1052873" y="102125"/>
                  </a:lnTo>
                  <a:lnTo>
                    <a:pt x="1052663" y="88810"/>
                  </a:lnTo>
                  <a:lnTo>
                    <a:pt x="1073499" y="56423"/>
                  </a:lnTo>
                  <a:lnTo>
                    <a:pt x="1086336" y="46552"/>
                  </a:lnTo>
                  <a:lnTo>
                    <a:pt x="1086050" y="29459"/>
                  </a:lnTo>
                  <a:lnTo>
                    <a:pt x="1073385" y="22064"/>
                  </a:lnTo>
                  <a:lnTo>
                    <a:pt x="1092451" y="6512"/>
                  </a:lnTo>
                  <a:lnTo>
                    <a:pt x="1121134" y="851"/>
                  </a:lnTo>
                  <a:close/>
                </a:path>
              </a:pathLst>
            </a:custGeom>
            <a:solidFill>
              <a:schemeClr val="tx2"/>
            </a:solid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56" name="Freeform 54">
              <a:extLst>
                <a:ext uri="{FF2B5EF4-FFF2-40B4-BE49-F238E27FC236}">
                  <a16:creationId xmlns:a16="http://schemas.microsoft.com/office/drawing/2014/main" id="{73E400D7-7525-8F4B-A53E-28DEC595261B}"/>
                </a:ext>
              </a:extLst>
            </p:cNvPr>
            <p:cNvSpPr>
              <a:spLocks noChangeAspect="1"/>
            </p:cNvSpPr>
            <p:nvPr>
              <p:custDataLst>
                <p:tags r:id="rId60"/>
              </p:custDataLst>
            </p:nvPr>
          </p:nvSpPr>
          <p:spPr>
            <a:xfrm>
              <a:off x="4499704" y="3331302"/>
              <a:ext cx="102029" cy="59718"/>
            </a:xfrm>
            <a:custGeom>
              <a:avLst/>
              <a:gdLst/>
              <a:ahLst/>
              <a:cxnLst/>
              <a:rect l="0" t="0" r="0" b="0"/>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solidFill>
              <a:schemeClr val="tx2"/>
            </a:solid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57" name="Freeform 55">
              <a:extLst>
                <a:ext uri="{FF2B5EF4-FFF2-40B4-BE49-F238E27FC236}">
                  <a16:creationId xmlns:a16="http://schemas.microsoft.com/office/drawing/2014/main" id="{47F70DBD-7913-B446-B362-5F2BDD6B327A}"/>
                </a:ext>
              </a:extLst>
            </p:cNvPr>
            <p:cNvSpPr>
              <a:spLocks noChangeAspect="1"/>
            </p:cNvSpPr>
            <p:nvPr>
              <p:custDataLst>
                <p:tags r:id="rId61"/>
              </p:custDataLst>
            </p:nvPr>
          </p:nvSpPr>
          <p:spPr>
            <a:xfrm>
              <a:off x="4162109" y="4284168"/>
              <a:ext cx="139436" cy="143603"/>
            </a:xfrm>
            <a:custGeom>
              <a:avLst/>
              <a:gdLst/>
              <a:ahLst/>
              <a:cxnLst/>
              <a:rect l="0" t="0" r="0" b="0"/>
              <a:pathLst>
                <a:path w="139436" h="143603">
                  <a:moveTo>
                    <a:pt x="132651" y="128423"/>
                  </a:moveTo>
                  <a:lnTo>
                    <a:pt x="122149" y="128659"/>
                  </a:lnTo>
                  <a:lnTo>
                    <a:pt x="106043" y="124134"/>
                  </a:lnTo>
                  <a:lnTo>
                    <a:pt x="91245" y="124402"/>
                  </a:lnTo>
                  <a:lnTo>
                    <a:pt x="63902" y="128441"/>
                  </a:lnTo>
                  <a:lnTo>
                    <a:pt x="47876" y="135118"/>
                  </a:lnTo>
                  <a:lnTo>
                    <a:pt x="25020" y="143602"/>
                  </a:lnTo>
                  <a:lnTo>
                    <a:pt x="20560" y="142994"/>
                  </a:lnTo>
                  <a:lnTo>
                    <a:pt x="22333" y="123941"/>
                  </a:lnTo>
                  <a:lnTo>
                    <a:pt x="24540" y="121044"/>
                  </a:lnTo>
                  <a:lnTo>
                    <a:pt x="23838" y="111922"/>
                  </a:lnTo>
                  <a:lnTo>
                    <a:pt x="14062" y="102221"/>
                  </a:lnTo>
                  <a:lnTo>
                    <a:pt x="6729" y="100672"/>
                  </a:lnTo>
                  <a:lnTo>
                    <a:pt x="0" y="94310"/>
                  </a:lnTo>
                  <a:lnTo>
                    <a:pt x="5019" y="84011"/>
                  </a:lnTo>
                  <a:lnTo>
                    <a:pt x="2711" y="72797"/>
                  </a:lnTo>
                  <a:lnTo>
                    <a:pt x="3776" y="66047"/>
                  </a:lnTo>
                  <a:lnTo>
                    <a:pt x="7436" y="66020"/>
                  </a:lnTo>
                  <a:lnTo>
                    <a:pt x="8796" y="55891"/>
                  </a:lnTo>
                  <a:lnTo>
                    <a:pt x="7013" y="51404"/>
                  </a:lnTo>
                  <a:lnTo>
                    <a:pt x="9219" y="48173"/>
                  </a:lnTo>
                  <a:lnTo>
                    <a:pt x="17792" y="45378"/>
                  </a:lnTo>
                  <a:lnTo>
                    <a:pt x="12090" y="26753"/>
                  </a:lnTo>
                  <a:lnTo>
                    <a:pt x="6769" y="17127"/>
                  </a:lnTo>
                  <a:lnTo>
                    <a:pt x="8622" y="9215"/>
                  </a:lnTo>
                  <a:lnTo>
                    <a:pt x="13225" y="7407"/>
                  </a:lnTo>
                  <a:lnTo>
                    <a:pt x="16234" y="5288"/>
                  </a:lnTo>
                  <a:lnTo>
                    <a:pt x="22624" y="8790"/>
                  </a:lnTo>
                  <a:lnTo>
                    <a:pt x="40450" y="8982"/>
                  </a:lnTo>
                  <a:lnTo>
                    <a:pt x="44698" y="2176"/>
                  </a:lnTo>
                  <a:lnTo>
                    <a:pt x="48679" y="2631"/>
                  </a:lnTo>
                  <a:lnTo>
                    <a:pt x="55344" y="0"/>
                  </a:lnTo>
                  <a:lnTo>
                    <a:pt x="58917" y="9976"/>
                  </a:lnTo>
                  <a:lnTo>
                    <a:pt x="64307" y="7033"/>
                  </a:lnTo>
                  <a:lnTo>
                    <a:pt x="73831" y="3577"/>
                  </a:lnTo>
                  <a:lnTo>
                    <a:pt x="84211" y="8662"/>
                  </a:lnTo>
                  <a:lnTo>
                    <a:pt x="88245" y="16371"/>
                  </a:lnTo>
                  <a:lnTo>
                    <a:pt x="98624" y="21290"/>
                  </a:lnTo>
                  <a:lnTo>
                    <a:pt x="106698" y="15430"/>
                  </a:lnTo>
                  <a:lnTo>
                    <a:pt x="117513" y="14545"/>
                  </a:lnTo>
                  <a:lnTo>
                    <a:pt x="133311" y="20553"/>
                  </a:lnTo>
                  <a:lnTo>
                    <a:pt x="139435" y="53654"/>
                  </a:lnTo>
                  <a:lnTo>
                    <a:pt x="129708" y="73157"/>
                  </a:lnTo>
                  <a:lnTo>
                    <a:pt x="123689" y="99342"/>
                  </a:lnTo>
                  <a:lnTo>
                    <a:pt x="133699" y="11929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58" name="Freeform 56">
              <a:extLst>
                <a:ext uri="{FF2B5EF4-FFF2-40B4-BE49-F238E27FC236}">
                  <a16:creationId xmlns:a16="http://schemas.microsoft.com/office/drawing/2014/main" id="{D9B926F2-F987-014A-956D-BC72CE354F4C}"/>
                </a:ext>
              </a:extLst>
            </p:cNvPr>
            <p:cNvSpPr>
              <a:spLocks noChangeAspect="1"/>
            </p:cNvSpPr>
            <p:nvPr>
              <p:custDataLst>
                <p:tags r:id="rId62"/>
              </p:custDataLst>
            </p:nvPr>
          </p:nvSpPr>
          <p:spPr>
            <a:xfrm>
              <a:off x="4556631" y="4229533"/>
              <a:ext cx="173676" cy="258555"/>
            </a:xfrm>
            <a:custGeom>
              <a:avLst/>
              <a:gdLst/>
              <a:ahLst/>
              <a:cxnLst/>
              <a:rect l="0" t="0" r="0" b="0"/>
              <a:pathLst>
                <a:path w="173676" h="258555">
                  <a:moveTo>
                    <a:pt x="105881" y="246098"/>
                  </a:moveTo>
                  <a:lnTo>
                    <a:pt x="103007" y="244839"/>
                  </a:lnTo>
                  <a:lnTo>
                    <a:pt x="89343" y="247814"/>
                  </a:lnTo>
                  <a:lnTo>
                    <a:pt x="75315" y="244720"/>
                  </a:lnTo>
                  <a:lnTo>
                    <a:pt x="64346" y="246238"/>
                  </a:lnTo>
                  <a:lnTo>
                    <a:pt x="26784" y="245711"/>
                  </a:lnTo>
                  <a:lnTo>
                    <a:pt x="30155" y="227473"/>
                  </a:lnTo>
                  <a:lnTo>
                    <a:pt x="21133" y="212195"/>
                  </a:lnTo>
                  <a:lnTo>
                    <a:pt x="10602" y="208275"/>
                  </a:lnTo>
                  <a:lnTo>
                    <a:pt x="5912" y="197915"/>
                  </a:lnTo>
                  <a:lnTo>
                    <a:pt x="0" y="194599"/>
                  </a:lnTo>
                  <a:lnTo>
                    <a:pt x="265" y="188206"/>
                  </a:lnTo>
                  <a:lnTo>
                    <a:pt x="6203" y="171829"/>
                  </a:lnTo>
                  <a:lnTo>
                    <a:pt x="17182" y="149480"/>
                  </a:lnTo>
                  <a:lnTo>
                    <a:pt x="23865" y="149272"/>
                  </a:lnTo>
                  <a:lnTo>
                    <a:pt x="37612" y="135702"/>
                  </a:lnTo>
                  <a:lnTo>
                    <a:pt x="46363" y="135317"/>
                  </a:lnTo>
                  <a:lnTo>
                    <a:pt x="59322" y="144846"/>
                  </a:lnTo>
                  <a:lnTo>
                    <a:pt x="75179" y="137033"/>
                  </a:lnTo>
                  <a:lnTo>
                    <a:pt x="77338" y="127390"/>
                  </a:lnTo>
                  <a:lnTo>
                    <a:pt x="82523" y="118040"/>
                  </a:lnTo>
                  <a:lnTo>
                    <a:pt x="86100" y="106286"/>
                  </a:lnTo>
                  <a:lnTo>
                    <a:pt x="98444" y="96710"/>
                  </a:lnTo>
                  <a:lnTo>
                    <a:pt x="103102" y="80421"/>
                  </a:lnTo>
                  <a:lnTo>
                    <a:pt x="107999" y="75231"/>
                  </a:lnTo>
                  <a:lnTo>
                    <a:pt x="111255" y="63119"/>
                  </a:lnTo>
                  <a:lnTo>
                    <a:pt x="117355" y="48228"/>
                  </a:lnTo>
                  <a:lnTo>
                    <a:pt x="136801" y="30147"/>
                  </a:lnTo>
                  <a:lnTo>
                    <a:pt x="138020" y="22370"/>
                  </a:lnTo>
                  <a:lnTo>
                    <a:pt x="140536" y="18142"/>
                  </a:lnTo>
                  <a:lnTo>
                    <a:pt x="131399" y="8811"/>
                  </a:lnTo>
                  <a:lnTo>
                    <a:pt x="132142" y="1346"/>
                  </a:lnTo>
                  <a:lnTo>
                    <a:pt x="138657" y="0"/>
                  </a:lnTo>
                  <a:lnTo>
                    <a:pt x="147835" y="15011"/>
                  </a:lnTo>
                  <a:lnTo>
                    <a:pt x="149376" y="30539"/>
                  </a:lnTo>
                  <a:lnTo>
                    <a:pt x="148531" y="46062"/>
                  </a:lnTo>
                  <a:lnTo>
                    <a:pt x="161095" y="67269"/>
                  </a:lnTo>
                  <a:lnTo>
                    <a:pt x="148203" y="67041"/>
                  </a:lnTo>
                  <a:lnTo>
                    <a:pt x="141690" y="68700"/>
                  </a:lnTo>
                  <a:lnTo>
                    <a:pt x="131171" y="66359"/>
                  </a:lnTo>
                  <a:lnTo>
                    <a:pt x="126156" y="77354"/>
                  </a:lnTo>
                  <a:lnTo>
                    <a:pt x="139781" y="90939"/>
                  </a:lnTo>
                  <a:lnTo>
                    <a:pt x="149834" y="94888"/>
                  </a:lnTo>
                  <a:lnTo>
                    <a:pt x="153085" y="104512"/>
                  </a:lnTo>
                  <a:lnTo>
                    <a:pt x="160362" y="120524"/>
                  </a:lnTo>
                  <a:lnTo>
                    <a:pt x="156746" y="126812"/>
                  </a:lnTo>
                  <a:lnTo>
                    <a:pt x="145138" y="150314"/>
                  </a:lnTo>
                  <a:lnTo>
                    <a:pt x="139598" y="154521"/>
                  </a:lnTo>
                  <a:lnTo>
                    <a:pt x="137817" y="172475"/>
                  </a:lnTo>
                  <a:lnTo>
                    <a:pt x="140114" y="182223"/>
                  </a:lnTo>
                  <a:lnTo>
                    <a:pt x="138255" y="189117"/>
                  </a:lnTo>
                  <a:lnTo>
                    <a:pt x="149164" y="201195"/>
                  </a:lnTo>
                  <a:lnTo>
                    <a:pt x="151132" y="209495"/>
                  </a:lnTo>
                  <a:lnTo>
                    <a:pt x="159653" y="221422"/>
                  </a:lnTo>
                  <a:lnTo>
                    <a:pt x="170210" y="228856"/>
                  </a:lnTo>
                  <a:lnTo>
                    <a:pt x="171240" y="239394"/>
                  </a:lnTo>
                  <a:lnTo>
                    <a:pt x="173675" y="246086"/>
                  </a:lnTo>
                  <a:lnTo>
                    <a:pt x="172014" y="258554"/>
                  </a:lnTo>
                  <a:lnTo>
                    <a:pt x="153674" y="253097"/>
                  </a:lnTo>
                  <a:lnTo>
                    <a:pt x="135011" y="24700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59" name="Freeform 57">
              <a:extLst>
                <a:ext uri="{FF2B5EF4-FFF2-40B4-BE49-F238E27FC236}">
                  <a16:creationId xmlns:a16="http://schemas.microsoft.com/office/drawing/2014/main" id="{F247D54C-3619-794F-9915-1FCD1269C7BF}"/>
                </a:ext>
              </a:extLst>
            </p:cNvPr>
            <p:cNvSpPr>
              <a:spLocks noChangeAspect="1"/>
            </p:cNvSpPr>
            <p:nvPr>
              <p:custDataLst>
                <p:tags r:id="rId63"/>
              </p:custDataLst>
            </p:nvPr>
          </p:nvSpPr>
          <p:spPr>
            <a:xfrm>
              <a:off x="4641887" y="4406537"/>
              <a:ext cx="438383" cy="429210"/>
            </a:xfrm>
            <a:custGeom>
              <a:avLst/>
              <a:gdLst/>
              <a:ahLst/>
              <a:cxnLst/>
              <a:rect l="0" t="0" r="0" b="0"/>
              <a:pathLst>
                <a:path w="438383" h="429210">
                  <a:moveTo>
                    <a:pt x="430527" y="40400"/>
                  </a:moveTo>
                  <a:lnTo>
                    <a:pt x="429131" y="67413"/>
                  </a:lnTo>
                  <a:lnTo>
                    <a:pt x="438382" y="70540"/>
                  </a:lnTo>
                  <a:lnTo>
                    <a:pt x="430961" y="78740"/>
                  </a:lnTo>
                  <a:lnTo>
                    <a:pt x="422094" y="84872"/>
                  </a:lnTo>
                  <a:lnTo>
                    <a:pt x="413268" y="96912"/>
                  </a:lnTo>
                  <a:lnTo>
                    <a:pt x="408412" y="107644"/>
                  </a:lnTo>
                  <a:lnTo>
                    <a:pt x="407113" y="126173"/>
                  </a:lnTo>
                  <a:lnTo>
                    <a:pt x="401766" y="134993"/>
                  </a:lnTo>
                  <a:lnTo>
                    <a:pt x="401573" y="152396"/>
                  </a:lnTo>
                  <a:lnTo>
                    <a:pt x="394935" y="158832"/>
                  </a:lnTo>
                  <a:lnTo>
                    <a:pt x="394079" y="172572"/>
                  </a:lnTo>
                  <a:lnTo>
                    <a:pt x="390909" y="174353"/>
                  </a:lnTo>
                  <a:lnTo>
                    <a:pt x="388773" y="186988"/>
                  </a:lnTo>
                  <a:lnTo>
                    <a:pt x="394577" y="197492"/>
                  </a:lnTo>
                  <a:lnTo>
                    <a:pt x="396045" y="225374"/>
                  </a:lnTo>
                  <a:lnTo>
                    <a:pt x="400200" y="246661"/>
                  </a:lnTo>
                  <a:lnTo>
                    <a:pt x="397891" y="258702"/>
                  </a:lnTo>
                  <a:lnTo>
                    <a:pt x="402509" y="272141"/>
                  </a:lnTo>
                  <a:lnTo>
                    <a:pt x="415896" y="285125"/>
                  </a:lnTo>
                  <a:lnTo>
                    <a:pt x="428361" y="314380"/>
                  </a:lnTo>
                  <a:lnTo>
                    <a:pt x="419268" y="312015"/>
                  </a:lnTo>
                  <a:lnTo>
                    <a:pt x="388264" y="315938"/>
                  </a:lnTo>
                  <a:lnTo>
                    <a:pt x="382077" y="318716"/>
                  </a:lnTo>
                  <a:lnTo>
                    <a:pt x="375499" y="333564"/>
                  </a:lnTo>
                  <a:lnTo>
                    <a:pt x="380665" y="343832"/>
                  </a:lnTo>
                  <a:lnTo>
                    <a:pt x="376565" y="371440"/>
                  </a:lnTo>
                  <a:lnTo>
                    <a:pt x="373707" y="394901"/>
                  </a:lnTo>
                  <a:lnTo>
                    <a:pt x="379943" y="399065"/>
                  </a:lnTo>
                  <a:lnTo>
                    <a:pt x="396081" y="408180"/>
                  </a:lnTo>
                  <a:lnTo>
                    <a:pt x="402416" y="403920"/>
                  </a:lnTo>
                  <a:lnTo>
                    <a:pt x="404346" y="429209"/>
                  </a:lnTo>
                  <a:lnTo>
                    <a:pt x="386680" y="429014"/>
                  </a:lnTo>
                  <a:lnTo>
                    <a:pt x="377200" y="416099"/>
                  </a:lnTo>
                  <a:lnTo>
                    <a:pt x="368695" y="406112"/>
                  </a:lnTo>
                  <a:lnTo>
                    <a:pt x="351006" y="402839"/>
                  </a:lnTo>
                  <a:lnTo>
                    <a:pt x="345827" y="390576"/>
                  </a:lnTo>
                  <a:lnTo>
                    <a:pt x="331716" y="397962"/>
                  </a:lnTo>
                  <a:lnTo>
                    <a:pt x="313232" y="394698"/>
                  </a:lnTo>
                  <a:lnTo>
                    <a:pt x="305518" y="384080"/>
                  </a:lnTo>
                  <a:lnTo>
                    <a:pt x="290862" y="381924"/>
                  </a:lnTo>
                  <a:lnTo>
                    <a:pt x="280044" y="382488"/>
                  </a:lnTo>
                  <a:lnTo>
                    <a:pt x="278720" y="375226"/>
                  </a:lnTo>
                  <a:lnTo>
                    <a:pt x="270757" y="374638"/>
                  </a:lnTo>
                  <a:lnTo>
                    <a:pt x="260245" y="373261"/>
                  </a:lnTo>
                  <a:lnTo>
                    <a:pt x="245946" y="376759"/>
                  </a:lnTo>
                  <a:lnTo>
                    <a:pt x="235916" y="376185"/>
                  </a:lnTo>
                  <a:lnTo>
                    <a:pt x="230202" y="378328"/>
                  </a:lnTo>
                  <a:lnTo>
                    <a:pt x="231437" y="350562"/>
                  </a:lnTo>
                  <a:lnTo>
                    <a:pt x="223737" y="341917"/>
                  </a:lnTo>
                  <a:lnTo>
                    <a:pt x="222043" y="327603"/>
                  </a:lnTo>
                  <a:lnTo>
                    <a:pt x="225444" y="313587"/>
                  </a:lnTo>
                  <a:lnTo>
                    <a:pt x="220766" y="304624"/>
                  </a:lnTo>
                  <a:lnTo>
                    <a:pt x="220343" y="290018"/>
                  </a:lnTo>
                  <a:lnTo>
                    <a:pt x="192335" y="290221"/>
                  </a:lnTo>
                  <a:lnTo>
                    <a:pt x="194345" y="281863"/>
                  </a:lnTo>
                  <a:lnTo>
                    <a:pt x="182568" y="281950"/>
                  </a:lnTo>
                  <a:lnTo>
                    <a:pt x="181324" y="285969"/>
                  </a:lnTo>
                  <a:lnTo>
                    <a:pt x="167007" y="286875"/>
                  </a:lnTo>
                  <a:lnTo>
                    <a:pt x="161216" y="300400"/>
                  </a:lnTo>
                  <a:lnTo>
                    <a:pt x="157757" y="306207"/>
                  </a:lnTo>
                  <a:lnTo>
                    <a:pt x="145002" y="302927"/>
                  </a:lnTo>
                  <a:lnTo>
                    <a:pt x="137386" y="306194"/>
                  </a:lnTo>
                  <a:lnTo>
                    <a:pt x="122122" y="308073"/>
                  </a:lnTo>
                  <a:lnTo>
                    <a:pt x="113282" y="295931"/>
                  </a:lnTo>
                  <a:lnTo>
                    <a:pt x="107978" y="288427"/>
                  </a:lnTo>
                  <a:lnTo>
                    <a:pt x="101353" y="274520"/>
                  </a:lnTo>
                  <a:lnTo>
                    <a:pt x="95659" y="257254"/>
                  </a:lnTo>
                  <a:lnTo>
                    <a:pt x="27544" y="256947"/>
                  </a:lnTo>
                  <a:lnTo>
                    <a:pt x="19448" y="259731"/>
                  </a:lnTo>
                  <a:lnTo>
                    <a:pt x="12761" y="259297"/>
                  </a:lnTo>
                  <a:lnTo>
                    <a:pt x="3234" y="262411"/>
                  </a:lnTo>
                  <a:lnTo>
                    <a:pt x="0" y="255227"/>
                  </a:lnTo>
                  <a:lnTo>
                    <a:pt x="5872" y="252781"/>
                  </a:lnTo>
                  <a:lnTo>
                    <a:pt x="6594" y="242689"/>
                  </a:lnTo>
                  <a:lnTo>
                    <a:pt x="10371" y="236739"/>
                  </a:lnTo>
                  <a:lnTo>
                    <a:pt x="18771" y="231876"/>
                  </a:lnTo>
                  <a:lnTo>
                    <a:pt x="24835" y="234233"/>
                  </a:lnTo>
                  <a:lnTo>
                    <a:pt x="32729" y="225377"/>
                  </a:lnTo>
                  <a:lnTo>
                    <a:pt x="45303" y="225605"/>
                  </a:lnTo>
                  <a:lnTo>
                    <a:pt x="46782" y="232154"/>
                  </a:lnTo>
                  <a:lnTo>
                    <a:pt x="55405" y="236252"/>
                  </a:lnTo>
                  <a:lnTo>
                    <a:pt x="68987" y="221755"/>
                  </a:lnTo>
                  <a:lnTo>
                    <a:pt x="82433" y="210464"/>
                  </a:lnTo>
                  <a:lnTo>
                    <a:pt x="88267" y="203067"/>
                  </a:lnTo>
                  <a:lnTo>
                    <a:pt x="87494" y="184058"/>
                  </a:lnTo>
                  <a:lnTo>
                    <a:pt x="97519" y="161623"/>
                  </a:lnTo>
                  <a:lnTo>
                    <a:pt x="108096" y="149730"/>
                  </a:lnTo>
                  <a:lnTo>
                    <a:pt x="123294" y="138603"/>
                  </a:lnTo>
                  <a:lnTo>
                    <a:pt x="125947" y="131240"/>
                  </a:lnTo>
                  <a:lnTo>
                    <a:pt x="126522" y="122774"/>
                  </a:lnTo>
                  <a:lnTo>
                    <a:pt x="130284" y="114765"/>
                  </a:lnTo>
                  <a:lnTo>
                    <a:pt x="129075" y="101682"/>
                  </a:lnTo>
                  <a:lnTo>
                    <a:pt x="131953" y="81224"/>
                  </a:lnTo>
                  <a:lnTo>
                    <a:pt x="136464" y="66816"/>
                  </a:lnTo>
                  <a:lnTo>
                    <a:pt x="143378" y="54465"/>
                  </a:lnTo>
                  <a:lnTo>
                    <a:pt x="144746" y="40511"/>
                  </a:lnTo>
                  <a:lnTo>
                    <a:pt x="146821" y="24389"/>
                  </a:lnTo>
                  <a:lnTo>
                    <a:pt x="155808" y="12647"/>
                  </a:lnTo>
                  <a:lnTo>
                    <a:pt x="168168" y="5197"/>
                  </a:lnTo>
                  <a:lnTo>
                    <a:pt x="187163" y="13060"/>
                  </a:lnTo>
                  <a:lnTo>
                    <a:pt x="201864" y="21592"/>
                  </a:lnTo>
                  <a:lnTo>
                    <a:pt x="218750" y="23868"/>
                  </a:lnTo>
                  <a:lnTo>
                    <a:pt x="235970" y="28381"/>
                  </a:lnTo>
                  <a:lnTo>
                    <a:pt x="242871" y="14416"/>
                  </a:lnTo>
                  <a:lnTo>
                    <a:pt x="246042" y="12633"/>
                  </a:lnTo>
                  <a:lnTo>
                    <a:pt x="256562" y="14956"/>
                  </a:lnTo>
                  <a:lnTo>
                    <a:pt x="282260" y="3409"/>
                  </a:lnTo>
                  <a:lnTo>
                    <a:pt x="291366" y="8304"/>
                  </a:lnTo>
                  <a:lnTo>
                    <a:pt x="298840" y="7610"/>
                  </a:lnTo>
                  <a:lnTo>
                    <a:pt x="302302" y="1983"/>
                  </a:lnTo>
                  <a:lnTo>
                    <a:pt x="310880" y="0"/>
                  </a:lnTo>
                  <a:lnTo>
                    <a:pt x="328246" y="2435"/>
                  </a:lnTo>
                  <a:lnTo>
                    <a:pt x="343049" y="2968"/>
                  </a:lnTo>
                  <a:lnTo>
                    <a:pt x="350670" y="513"/>
                  </a:lnTo>
                  <a:lnTo>
                    <a:pt x="364652" y="19611"/>
                  </a:lnTo>
                  <a:lnTo>
                    <a:pt x="375017" y="22416"/>
                  </a:lnTo>
                  <a:lnTo>
                    <a:pt x="381196" y="18532"/>
                  </a:lnTo>
                  <a:lnTo>
                    <a:pt x="391869" y="20054"/>
                  </a:lnTo>
                  <a:lnTo>
                    <a:pt x="404724" y="15162"/>
                  </a:lnTo>
                  <a:lnTo>
                    <a:pt x="410207" y="2503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60" name="Freeform 58">
              <a:extLst>
                <a:ext uri="{FF2B5EF4-FFF2-40B4-BE49-F238E27FC236}">
                  <a16:creationId xmlns:a16="http://schemas.microsoft.com/office/drawing/2014/main" id="{7AD3BEA8-9827-F741-836B-345AE08643F4}"/>
                </a:ext>
              </a:extLst>
            </p:cNvPr>
            <p:cNvSpPr>
              <a:spLocks noChangeAspect="1"/>
            </p:cNvSpPr>
            <p:nvPr>
              <p:custDataLst>
                <p:tags r:id="rId64"/>
              </p:custDataLst>
            </p:nvPr>
          </p:nvSpPr>
          <p:spPr>
            <a:xfrm>
              <a:off x="4616760" y="4441875"/>
              <a:ext cx="169874" cy="202483"/>
            </a:xfrm>
            <a:custGeom>
              <a:avLst/>
              <a:gdLst/>
              <a:ahLst/>
              <a:cxnLst/>
              <a:rect l="0" t="0" r="0" b="0"/>
              <a:pathLst>
                <a:path w="169874" h="202483">
                  <a:moveTo>
                    <a:pt x="43898" y="196538"/>
                  </a:moveTo>
                  <a:lnTo>
                    <a:pt x="35248" y="188603"/>
                  </a:lnTo>
                  <a:lnTo>
                    <a:pt x="28273" y="192493"/>
                  </a:lnTo>
                  <a:lnTo>
                    <a:pt x="18956" y="202482"/>
                  </a:lnTo>
                  <a:lnTo>
                    <a:pt x="0" y="177985"/>
                  </a:lnTo>
                  <a:lnTo>
                    <a:pt x="17575" y="165227"/>
                  </a:lnTo>
                  <a:lnTo>
                    <a:pt x="8870" y="149949"/>
                  </a:lnTo>
                  <a:lnTo>
                    <a:pt x="16786" y="144141"/>
                  </a:lnTo>
                  <a:lnTo>
                    <a:pt x="32361" y="141312"/>
                  </a:lnTo>
                  <a:lnTo>
                    <a:pt x="34198" y="131078"/>
                  </a:lnTo>
                  <a:lnTo>
                    <a:pt x="46532" y="142168"/>
                  </a:lnTo>
                  <a:lnTo>
                    <a:pt x="66909" y="143140"/>
                  </a:lnTo>
                  <a:lnTo>
                    <a:pt x="73991" y="132227"/>
                  </a:lnTo>
                  <a:lnTo>
                    <a:pt x="76905" y="116876"/>
                  </a:lnTo>
                  <a:lnTo>
                    <a:pt x="74388" y="98852"/>
                  </a:lnTo>
                  <a:lnTo>
                    <a:pt x="63468" y="85201"/>
                  </a:lnTo>
                  <a:lnTo>
                    <a:pt x="73461" y="58466"/>
                  </a:lnTo>
                  <a:lnTo>
                    <a:pt x="67699" y="53878"/>
                  </a:lnTo>
                  <a:lnTo>
                    <a:pt x="50525" y="55759"/>
                  </a:lnTo>
                  <a:lnTo>
                    <a:pt x="44073" y="43829"/>
                  </a:lnTo>
                  <a:lnTo>
                    <a:pt x="45752" y="33756"/>
                  </a:lnTo>
                  <a:lnTo>
                    <a:pt x="74882" y="34662"/>
                  </a:lnTo>
                  <a:lnTo>
                    <a:pt x="93545" y="40755"/>
                  </a:lnTo>
                  <a:lnTo>
                    <a:pt x="111885" y="46212"/>
                  </a:lnTo>
                  <a:lnTo>
                    <a:pt x="113546" y="33744"/>
                  </a:lnTo>
                  <a:lnTo>
                    <a:pt x="125646" y="12247"/>
                  </a:lnTo>
                  <a:lnTo>
                    <a:pt x="139403" y="0"/>
                  </a:lnTo>
                  <a:lnTo>
                    <a:pt x="155027" y="3883"/>
                  </a:lnTo>
                  <a:lnTo>
                    <a:pt x="169873" y="5173"/>
                  </a:lnTo>
                  <a:lnTo>
                    <a:pt x="168505" y="19127"/>
                  </a:lnTo>
                  <a:lnTo>
                    <a:pt x="161591" y="31478"/>
                  </a:lnTo>
                  <a:lnTo>
                    <a:pt x="157080" y="45886"/>
                  </a:lnTo>
                  <a:lnTo>
                    <a:pt x="154202" y="66344"/>
                  </a:lnTo>
                  <a:lnTo>
                    <a:pt x="155411" y="79427"/>
                  </a:lnTo>
                  <a:lnTo>
                    <a:pt x="151649" y="87436"/>
                  </a:lnTo>
                  <a:lnTo>
                    <a:pt x="151074" y="95902"/>
                  </a:lnTo>
                  <a:lnTo>
                    <a:pt x="148421" y="103265"/>
                  </a:lnTo>
                  <a:lnTo>
                    <a:pt x="133223" y="114392"/>
                  </a:lnTo>
                  <a:lnTo>
                    <a:pt x="122646" y="126285"/>
                  </a:lnTo>
                  <a:lnTo>
                    <a:pt x="112621" y="148720"/>
                  </a:lnTo>
                  <a:lnTo>
                    <a:pt x="113394" y="167729"/>
                  </a:lnTo>
                  <a:lnTo>
                    <a:pt x="107560" y="175126"/>
                  </a:lnTo>
                  <a:lnTo>
                    <a:pt x="94114" y="186417"/>
                  </a:lnTo>
                  <a:lnTo>
                    <a:pt x="80532" y="200914"/>
                  </a:lnTo>
                  <a:lnTo>
                    <a:pt x="71909" y="196816"/>
                  </a:lnTo>
                  <a:lnTo>
                    <a:pt x="70430" y="190267"/>
                  </a:lnTo>
                  <a:lnTo>
                    <a:pt x="57856" y="190039"/>
                  </a:lnTo>
                  <a:lnTo>
                    <a:pt x="49962" y="19889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61" name="Freeform 59">
              <a:extLst>
                <a:ext uri="{FF2B5EF4-FFF2-40B4-BE49-F238E27FC236}">
                  <a16:creationId xmlns:a16="http://schemas.microsoft.com/office/drawing/2014/main" id="{184C3556-790D-8D41-BA1E-AEC9F7582126}"/>
                </a:ext>
              </a:extLst>
            </p:cNvPr>
            <p:cNvSpPr>
              <a:spLocks noChangeAspect="1"/>
            </p:cNvSpPr>
            <p:nvPr>
              <p:custDataLst>
                <p:tags r:id="rId65"/>
              </p:custDataLst>
            </p:nvPr>
          </p:nvSpPr>
          <p:spPr>
            <a:xfrm>
              <a:off x="5116223" y="3668254"/>
              <a:ext cx="42582" cy="17594"/>
            </a:xfrm>
            <a:custGeom>
              <a:avLst/>
              <a:gdLst/>
              <a:ahLst/>
              <a:cxnLst/>
              <a:rect l="0" t="0" r="0" b="0"/>
              <a:pathLst>
                <a:path w="42582" h="17594">
                  <a:moveTo>
                    <a:pt x="0" y="13939"/>
                  </a:moveTo>
                  <a:lnTo>
                    <a:pt x="1632" y="13796"/>
                  </a:lnTo>
                  <a:lnTo>
                    <a:pt x="4968" y="7478"/>
                  </a:lnTo>
                  <a:lnTo>
                    <a:pt x="21593" y="7832"/>
                  </a:lnTo>
                  <a:lnTo>
                    <a:pt x="42581" y="0"/>
                  </a:lnTo>
                  <a:lnTo>
                    <a:pt x="26985" y="11171"/>
                  </a:lnTo>
                  <a:lnTo>
                    <a:pt x="28665" y="16072"/>
                  </a:lnTo>
                  <a:lnTo>
                    <a:pt x="26191" y="15155"/>
                  </a:lnTo>
                  <a:lnTo>
                    <a:pt x="21782" y="17135"/>
                  </a:lnTo>
                  <a:lnTo>
                    <a:pt x="18326" y="16590"/>
                  </a:lnTo>
                  <a:lnTo>
                    <a:pt x="17175" y="17593"/>
                  </a:lnTo>
                  <a:lnTo>
                    <a:pt x="16716" y="14949"/>
                  </a:lnTo>
                  <a:lnTo>
                    <a:pt x="15052" y="13346"/>
                  </a:lnTo>
                  <a:lnTo>
                    <a:pt x="10600" y="13073"/>
                  </a:lnTo>
                  <a:lnTo>
                    <a:pt x="4335" y="1530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62" name="Freeform 60">
              <a:extLst>
                <a:ext uri="{FF2B5EF4-FFF2-40B4-BE49-F238E27FC236}">
                  <a16:creationId xmlns:a16="http://schemas.microsoft.com/office/drawing/2014/main" id="{45D7DFA9-577B-2C46-A6FE-BF9A24D82E89}"/>
                </a:ext>
              </a:extLst>
            </p:cNvPr>
            <p:cNvSpPr>
              <a:spLocks noChangeAspect="1"/>
            </p:cNvSpPr>
            <p:nvPr>
              <p:custDataLst>
                <p:tags r:id="rId66"/>
              </p:custDataLst>
            </p:nvPr>
          </p:nvSpPr>
          <p:spPr>
            <a:xfrm>
              <a:off x="5105257" y="3681327"/>
              <a:ext cx="40354" cy="15705"/>
            </a:xfrm>
            <a:custGeom>
              <a:avLst/>
              <a:gdLst/>
              <a:ahLst/>
              <a:cxnLst/>
              <a:rect l="0" t="0" r="0" b="0"/>
              <a:pathLst>
                <a:path w="40354" h="15705">
                  <a:moveTo>
                    <a:pt x="39631" y="2999"/>
                  </a:moveTo>
                  <a:lnTo>
                    <a:pt x="40353" y="5101"/>
                  </a:lnTo>
                  <a:lnTo>
                    <a:pt x="16692" y="15704"/>
                  </a:lnTo>
                  <a:lnTo>
                    <a:pt x="5392" y="12320"/>
                  </a:lnTo>
                  <a:lnTo>
                    <a:pt x="0" y="1829"/>
                  </a:lnTo>
                  <a:lnTo>
                    <a:pt x="10966" y="866"/>
                  </a:lnTo>
                  <a:lnTo>
                    <a:pt x="15301" y="2232"/>
                  </a:lnTo>
                  <a:lnTo>
                    <a:pt x="21566" y="0"/>
                  </a:lnTo>
                  <a:lnTo>
                    <a:pt x="26018" y="273"/>
                  </a:lnTo>
                  <a:lnTo>
                    <a:pt x="27682" y="1876"/>
                  </a:lnTo>
                  <a:lnTo>
                    <a:pt x="28141" y="4520"/>
                  </a:lnTo>
                  <a:lnTo>
                    <a:pt x="29292" y="3517"/>
                  </a:lnTo>
                  <a:lnTo>
                    <a:pt x="32748" y="4062"/>
                  </a:lnTo>
                  <a:lnTo>
                    <a:pt x="37157" y="2082"/>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63" name="Freeform 61">
              <a:extLst>
                <a:ext uri="{FF2B5EF4-FFF2-40B4-BE49-F238E27FC236}">
                  <a16:creationId xmlns:a16="http://schemas.microsoft.com/office/drawing/2014/main" id="{C25F58B0-A576-7D47-B21D-6EC1B4549D6C}"/>
                </a:ext>
              </a:extLst>
            </p:cNvPr>
            <p:cNvSpPr>
              <a:spLocks noChangeAspect="1"/>
            </p:cNvSpPr>
            <p:nvPr>
              <p:custDataLst>
                <p:tags r:id="rId67"/>
              </p:custDataLst>
            </p:nvPr>
          </p:nvSpPr>
          <p:spPr>
            <a:xfrm>
              <a:off x="4643221" y="3232858"/>
              <a:ext cx="152647" cy="77061"/>
            </a:xfrm>
            <a:custGeom>
              <a:avLst/>
              <a:gdLst/>
              <a:ahLst/>
              <a:cxnLst/>
              <a:rect l="0" t="0" r="0" b="0"/>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64" name="Freeform 62">
              <a:extLst>
                <a:ext uri="{FF2B5EF4-FFF2-40B4-BE49-F238E27FC236}">
                  <a16:creationId xmlns:a16="http://schemas.microsoft.com/office/drawing/2014/main" id="{5E217B98-D27E-9B43-90D2-995EB963C929}"/>
                </a:ext>
              </a:extLst>
            </p:cNvPr>
            <p:cNvSpPr>
              <a:spLocks noChangeAspect="1"/>
            </p:cNvSpPr>
            <p:nvPr>
              <p:custDataLst>
                <p:tags r:id="rId68"/>
              </p:custDataLst>
            </p:nvPr>
          </p:nvSpPr>
          <p:spPr>
            <a:xfrm>
              <a:off x="4498921" y="3111903"/>
              <a:ext cx="208399" cy="234888"/>
            </a:xfrm>
            <a:custGeom>
              <a:avLst/>
              <a:gdLst/>
              <a:ahLst/>
              <a:cxnLst/>
              <a:rect l="0" t="0" r="0" b="0"/>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chemeClr val="tx2"/>
            </a:solid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65" name="Freeform 63">
              <a:extLst>
                <a:ext uri="{FF2B5EF4-FFF2-40B4-BE49-F238E27FC236}">
                  <a16:creationId xmlns:a16="http://schemas.microsoft.com/office/drawing/2014/main" id="{96F33CDE-EB5F-944D-9634-1C15ADE6B4DD}"/>
                </a:ext>
              </a:extLst>
            </p:cNvPr>
            <p:cNvSpPr>
              <a:spLocks noChangeAspect="1"/>
            </p:cNvSpPr>
            <p:nvPr>
              <p:custDataLst>
                <p:tags r:id="rId69"/>
              </p:custDataLst>
            </p:nvPr>
          </p:nvSpPr>
          <p:spPr>
            <a:xfrm>
              <a:off x="5322351" y="4233281"/>
              <a:ext cx="38228" cy="41485"/>
            </a:xfrm>
            <a:custGeom>
              <a:avLst/>
              <a:gdLst/>
              <a:ahLst/>
              <a:cxnLst/>
              <a:rect l="0" t="0" r="0" b="0"/>
              <a:pathLst>
                <a:path w="38228" h="41485">
                  <a:moveTo>
                    <a:pt x="32766" y="0"/>
                  </a:moveTo>
                  <a:lnTo>
                    <a:pt x="38227" y="7254"/>
                  </a:lnTo>
                  <a:lnTo>
                    <a:pt x="37501" y="16979"/>
                  </a:lnTo>
                  <a:lnTo>
                    <a:pt x="24332" y="22579"/>
                  </a:lnTo>
                  <a:lnTo>
                    <a:pt x="34245" y="28978"/>
                  </a:lnTo>
                  <a:lnTo>
                    <a:pt x="25740" y="41484"/>
                  </a:lnTo>
                  <a:lnTo>
                    <a:pt x="20617" y="37321"/>
                  </a:lnTo>
                  <a:lnTo>
                    <a:pt x="15059" y="38977"/>
                  </a:lnTo>
                  <a:lnTo>
                    <a:pt x="2166" y="38587"/>
                  </a:lnTo>
                  <a:lnTo>
                    <a:pt x="1797" y="31478"/>
                  </a:lnTo>
                  <a:lnTo>
                    <a:pt x="0" y="25022"/>
                  </a:lnTo>
                  <a:lnTo>
                    <a:pt x="7808" y="14051"/>
                  </a:lnTo>
                  <a:lnTo>
                    <a:pt x="15923" y="3690"/>
                  </a:lnTo>
                  <a:lnTo>
                    <a:pt x="25804" y="572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66" name="Freeform 64">
              <a:extLst>
                <a:ext uri="{FF2B5EF4-FFF2-40B4-BE49-F238E27FC236}">
                  <a16:creationId xmlns:a16="http://schemas.microsoft.com/office/drawing/2014/main" id="{68A3AAF2-259D-2F4C-9D14-E3ABF13A31D1}"/>
                </a:ext>
              </a:extLst>
            </p:cNvPr>
            <p:cNvSpPr>
              <a:spLocks noChangeAspect="1"/>
            </p:cNvSpPr>
            <p:nvPr>
              <p:custDataLst>
                <p:tags r:id="rId70"/>
              </p:custDataLst>
            </p:nvPr>
          </p:nvSpPr>
          <p:spPr>
            <a:xfrm>
              <a:off x="4160227" y="3630027"/>
              <a:ext cx="477441" cy="452765"/>
            </a:xfrm>
            <a:custGeom>
              <a:avLst/>
              <a:gdLst/>
              <a:ahLst/>
              <a:cxnLst/>
              <a:rect l="0" t="0" r="0" b="0"/>
              <a:pathLst>
                <a:path w="477441" h="452765">
                  <a:moveTo>
                    <a:pt x="477440" y="346187"/>
                  </a:moveTo>
                  <a:lnTo>
                    <a:pt x="398345" y="392453"/>
                  </a:lnTo>
                  <a:lnTo>
                    <a:pt x="331513" y="439739"/>
                  </a:lnTo>
                  <a:lnTo>
                    <a:pt x="298963" y="450421"/>
                  </a:lnTo>
                  <a:lnTo>
                    <a:pt x="273358" y="452764"/>
                  </a:lnTo>
                  <a:lnTo>
                    <a:pt x="273093" y="437524"/>
                  </a:lnTo>
                  <a:lnTo>
                    <a:pt x="262404" y="433621"/>
                  </a:lnTo>
                  <a:lnTo>
                    <a:pt x="248033" y="426754"/>
                  </a:lnTo>
                  <a:lnTo>
                    <a:pt x="242545" y="415485"/>
                  </a:lnTo>
                  <a:lnTo>
                    <a:pt x="164680" y="362715"/>
                  </a:lnTo>
                  <a:lnTo>
                    <a:pt x="86816" y="309412"/>
                  </a:lnTo>
                  <a:lnTo>
                    <a:pt x="0" y="249566"/>
                  </a:lnTo>
                  <a:lnTo>
                    <a:pt x="445" y="244743"/>
                  </a:lnTo>
                  <a:lnTo>
                    <a:pt x="435" y="243075"/>
                  </a:lnTo>
                  <a:lnTo>
                    <a:pt x="238" y="213450"/>
                  </a:lnTo>
                  <a:lnTo>
                    <a:pt x="37514" y="194895"/>
                  </a:lnTo>
                  <a:lnTo>
                    <a:pt x="60564" y="191050"/>
                  </a:lnTo>
                  <a:lnTo>
                    <a:pt x="79457" y="184265"/>
                  </a:lnTo>
                  <a:lnTo>
                    <a:pt x="88286" y="171593"/>
                  </a:lnTo>
                  <a:lnTo>
                    <a:pt x="115274" y="161549"/>
                  </a:lnTo>
                  <a:lnTo>
                    <a:pt x="116265" y="142691"/>
                  </a:lnTo>
                  <a:lnTo>
                    <a:pt x="129619" y="140464"/>
                  </a:lnTo>
                  <a:lnTo>
                    <a:pt x="140061" y="131004"/>
                  </a:lnTo>
                  <a:lnTo>
                    <a:pt x="170270" y="126684"/>
                  </a:lnTo>
                  <a:lnTo>
                    <a:pt x="174502" y="116706"/>
                  </a:lnTo>
                  <a:lnTo>
                    <a:pt x="168420" y="111240"/>
                  </a:lnTo>
                  <a:lnTo>
                    <a:pt x="160447" y="83959"/>
                  </a:lnTo>
                  <a:lnTo>
                    <a:pt x="159073" y="68149"/>
                  </a:lnTo>
                  <a:lnTo>
                    <a:pt x="150372" y="51424"/>
                  </a:lnTo>
                  <a:lnTo>
                    <a:pt x="172562" y="37091"/>
                  </a:lnTo>
                  <a:lnTo>
                    <a:pt x="197517" y="32519"/>
                  </a:lnTo>
                  <a:lnTo>
                    <a:pt x="212090" y="21643"/>
                  </a:lnTo>
                  <a:lnTo>
                    <a:pt x="234320" y="13597"/>
                  </a:lnTo>
                  <a:lnTo>
                    <a:pt x="273440" y="8876"/>
                  </a:lnTo>
                  <a:lnTo>
                    <a:pt x="311620" y="6725"/>
                  </a:lnTo>
                  <a:lnTo>
                    <a:pt x="323262" y="10662"/>
                  </a:lnTo>
                  <a:lnTo>
                    <a:pt x="344999" y="206"/>
                  </a:lnTo>
                  <a:lnTo>
                    <a:pt x="369664" y="0"/>
                  </a:lnTo>
                  <a:lnTo>
                    <a:pt x="379052" y="6177"/>
                  </a:lnTo>
                  <a:lnTo>
                    <a:pt x="394838" y="4567"/>
                  </a:lnTo>
                  <a:lnTo>
                    <a:pt x="390149" y="18158"/>
                  </a:lnTo>
                  <a:lnTo>
                    <a:pt x="393809" y="43261"/>
                  </a:lnTo>
                  <a:lnTo>
                    <a:pt x="388375" y="64833"/>
                  </a:lnTo>
                  <a:lnTo>
                    <a:pt x="374145" y="79348"/>
                  </a:lnTo>
                  <a:lnTo>
                    <a:pt x="376179" y="98858"/>
                  </a:lnTo>
                  <a:lnTo>
                    <a:pt x="395057" y="114217"/>
                  </a:lnTo>
                  <a:lnTo>
                    <a:pt x="395257" y="120438"/>
                  </a:lnTo>
                  <a:lnTo>
                    <a:pt x="409487" y="130790"/>
                  </a:lnTo>
                  <a:lnTo>
                    <a:pt x="419333" y="176498"/>
                  </a:lnTo>
                  <a:lnTo>
                    <a:pt x="426800" y="198789"/>
                  </a:lnTo>
                  <a:lnTo>
                    <a:pt x="428055" y="210471"/>
                  </a:lnTo>
                  <a:lnTo>
                    <a:pt x="423989" y="230905"/>
                  </a:lnTo>
                  <a:lnTo>
                    <a:pt x="425657" y="242282"/>
                  </a:lnTo>
                  <a:lnTo>
                    <a:pt x="422724" y="255901"/>
                  </a:lnTo>
                  <a:lnTo>
                    <a:pt x="424737" y="271495"/>
                  </a:lnTo>
                  <a:lnTo>
                    <a:pt x="415576" y="281830"/>
                  </a:lnTo>
                  <a:lnTo>
                    <a:pt x="429225" y="299802"/>
                  </a:lnTo>
                  <a:lnTo>
                    <a:pt x="430092" y="310336"/>
                  </a:lnTo>
                  <a:lnTo>
                    <a:pt x="438300" y="324010"/>
                  </a:lnTo>
                  <a:lnTo>
                    <a:pt x="449091" y="319522"/>
                  </a:lnTo>
                  <a:lnTo>
                    <a:pt x="467311" y="33089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67" name="Freeform 65">
              <a:extLst>
                <a:ext uri="{FF2B5EF4-FFF2-40B4-BE49-F238E27FC236}">
                  <a16:creationId xmlns:a16="http://schemas.microsoft.com/office/drawing/2014/main" id="{23633B77-FC79-2447-83E4-BEDD6494C3BD}"/>
                </a:ext>
              </a:extLst>
            </p:cNvPr>
            <p:cNvSpPr>
              <a:spLocks noChangeAspect="1"/>
            </p:cNvSpPr>
            <p:nvPr>
              <p:custDataLst>
                <p:tags r:id="rId71"/>
              </p:custDataLst>
            </p:nvPr>
          </p:nvSpPr>
          <p:spPr>
            <a:xfrm>
              <a:off x="4930830" y="3774036"/>
              <a:ext cx="280829" cy="237937"/>
            </a:xfrm>
            <a:custGeom>
              <a:avLst/>
              <a:gdLst/>
              <a:ahLst/>
              <a:cxnLst/>
              <a:rect l="0" t="0" r="0" b="0"/>
              <a:pathLst>
                <a:path w="280829" h="237937">
                  <a:moveTo>
                    <a:pt x="235964" y="52848"/>
                  </a:moveTo>
                  <a:lnTo>
                    <a:pt x="229481" y="62960"/>
                  </a:lnTo>
                  <a:lnTo>
                    <a:pt x="224513" y="81900"/>
                  </a:lnTo>
                  <a:lnTo>
                    <a:pt x="218234" y="94906"/>
                  </a:lnTo>
                  <a:lnTo>
                    <a:pt x="212852" y="99259"/>
                  </a:lnTo>
                  <a:lnTo>
                    <a:pt x="205160" y="91212"/>
                  </a:lnTo>
                  <a:lnTo>
                    <a:pt x="194742" y="80057"/>
                  </a:lnTo>
                  <a:lnTo>
                    <a:pt x="178271" y="44029"/>
                  </a:lnTo>
                  <a:lnTo>
                    <a:pt x="175899" y="46316"/>
                  </a:lnTo>
                  <a:lnTo>
                    <a:pt x="185464" y="72854"/>
                  </a:lnTo>
                  <a:lnTo>
                    <a:pt x="199635" y="97983"/>
                  </a:lnTo>
                  <a:lnTo>
                    <a:pt x="217081" y="136637"/>
                  </a:lnTo>
                  <a:lnTo>
                    <a:pt x="225606" y="150053"/>
                  </a:lnTo>
                  <a:lnTo>
                    <a:pt x="233020" y="163950"/>
                  </a:lnTo>
                  <a:lnTo>
                    <a:pt x="253733" y="191072"/>
                  </a:lnTo>
                  <a:lnTo>
                    <a:pt x="249146" y="195330"/>
                  </a:lnTo>
                  <a:lnTo>
                    <a:pt x="249891" y="211172"/>
                  </a:lnTo>
                  <a:lnTo>
                    <a:pt x="276776" y="232973"/>
                  </a:lnTo>
                  <a:lnTo>
                    <a:pt x="280828" y="237936"/>
                  </a:lnTo>
                  <a:lnTo>
                    <a:pt x="189276" y="237936"/>
                  </a:lnTo>
                  <a:lnTo>
                    <a:pt x="99716" y="237936"/>
                  </a:lnTo>
                  <a:lnTo>
                    <a:pt x="6923" y="237936"/>
                  </a:lnTo>
                  <a:lnTo>
                    <a:pt x="6923" y="147984"/>
                  </a:lnTo>
                  <a:lnTo>
                    <a:pt x="6923" y="59460"/>
                  </a:lnTo>
                  <a:lnTo>
                    <a:pt x="0" y="39151"/>
                  </a:lnTo>
                  <a:lnTo>
                    <a:pt x="5945" y="23516"/>
                  </a:lnTo>
                  <a:lnTo>
                    <a:pt x="2373" y="12650"/>
                  </a:lnTo>
                  <a:lnTo>
                    <a:pt x="10728" y="422"/>
                  </a:lnTo>
                  <a:lnTo>
                    <a:pt x="41440" y="0"/>
                  </a:lnTo>
                  <a:lnTo>
                    <a:pt x="63652" y="6743"/>
                  </a:lnTo>
                  <a:lnTo>
                    <a:pt x="86570" y="14266"/>
                  </a:lnTo>
                  <a:lnTo>
                    <a:pt x="97258" y="18224"/>
                  </a:lnTo>
                  <a:lnTo>
                    <a:pt x="115029" y="10167"/>
                  </a:lnTo>
                  <a:lnTo>
                    <a:pt x="124530" y="2865"/>
                  </a:lnTo>
                  <a:lnTo>
                    <a:pt x="144887" y="761"/>
                  </a:lnTo>
                  <a:lnTo>
                    <a:pt x="161299" y="3982"/>
                  </a:lnTo>
                  <a:lnTo>
                    <a:pt x="167588" y="16609"/>
                  </a:lnTo>
                  <a:lnTo>
                    <a:pt x="172945" y="8296"/>
                  </a:lnTo>
                  <a:lnTo>
                    <a:pt x="191445" y="14309"/>
                  </a:lnTo>
                  <a:lnTo>
                    <a:pt x="209437" y="15748"/>
                  </a:lnTo>
                  <a:lnTo>
                    <a:pt x="220795" y="933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68" name="Freeform 66">
              <a:extLst>
                <a:ext uri="{FF2B5EF4-FFF2-40B4-BE49-F238E27FC236}">
                  <a16:creationId xmlns:a16="http://schemas.microsoft.com/office/drawing/2014/main" id="{3A6C9C30-8EC0-D040-9A04-1E00F75BF73F}"/>
                </a:ext>
              </a:extLst>
            </p:cNvPr>
            <p:cNvSpPr>
              <a:spLocks noChangeAspect="1"/>
            </p:cNvSpPr>
            <p:nvPr>
              <p:custDataLst>
                <p:tags r:id="rId72"/>
              </p:custDataLst>
            </p:nvPr>
          </p:nvSpPr>
          <p:spPr>
            <a:xfrm>
              <a:off x="5199123" y="4108078"/>
              <a:ext cx="155995" cy="130929"/>
            </a:xfrm>
            <a:custGeom>
              <a:avLst/>
              <a:gdLst/>
              <a:ahLst/>
              <a:cxnLst/>
              <a:rect l="0" t="0" r="0" b="0"/>
              <a:pathLst>
                <a:path w="155995" h="130929">
                  <a:moveTo>
                    <a:pt x="139151" y="128893"/>
                  </a:moveTo>
                  <a:lnTo>
                    <a:pt x="131261" y="121305"/>
                  </a:lnTo>
                  <a:lnTo>
                    <a:pt x="121770" y="107540"/>
                  </a:lnTo>
                  <a:lnTo>
                    <a:pt x="111535" y="99990"/>
                  </a:lnTo>
                  <a:lnTo>
                    <a:pt x="105566" y="91865"/>
                  </a:lnTo>
                  <a:lnTo>
                    <a:pt x="85476" y="82422"/>
                  </a:lnTo>
                  <a:lnTo>
                    <a:pt x="69650" y="82140"/>
                  </a:lnTo>
                  <a:lnTo>
                    <a:pt x="64082" y="77211"/>
                  </a:lnTo>
                  <a:lnTo>
                    <a:pt x="50545" y="82755"/>
                  </a:lnTo>
                  <a:lnTo>
                    <a:pt x="36537" y="72050"/>
                  </a:lnTo>
                  <a:lnTo>
                    <a:pt x="29328" y="89641"/>
                  </a:lnTo>
                  <a:lnTo>
                    <a:pt x="2454" y="84719"/>
                  </a:lnTo>
                  <a:lnTo>
                    <a:pt x="0" y="75281"/>
                  </a:lnTo>
                  <a:lnTo>
                    <a:pt x="9941" y="40547"/>
                  </a:lnTo>
                  <a:lnTo>
                    <a:pt x="12219" y="24781"/>
                  </a:lnTo>
                  <a:lnTo>
                    <a:pt x="19488" y="17498"/>
                  </a:lnTo>
                  <a:lnTo>
                    <a:pt x="36489" y="13589"/>
                  </a:lnTo>
                  <a:lnTo>
                    <a:pt x="48171" y="0"/>
                  </a:lnTo>
                  <a:lnTo>
                    <a:pt x="61571" y="27534"/>
                  </a:lnTo>
                  <a:lnTo>
                    <a:pt x="67930" y="49288"/>
                  </a:lnTo>
                  <a:lnTo>
                    <a:pt x="80584" y="60806"/>
                  </a:lnTo>
                  <a:lnTo>
                    <a:pt x="112091" y="83094"/>
                  </a:lnTo>
                  <a:lnTo>
                    <a:pt x="124918" y="96515"/>
                  </a:lnTo>
                  <a:lnTo>
                    <a:pt x="137426" y="110080"/>
                  </a:lnTo>
                  <a:lnTo>
                    <a:pt x="144645" y="118147"/>
                  </a:lnTo>
                  <a:lnTo>
                    <a:pt x="155994" y="125203"/>
                  </a:lnTo>
                  <a:lnTo>
                    <a:pt x="149032" y="130928"/>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69" name="Freeform 67">
              <a:extLst>
                <a:ext uri="{FF2B5EF4-FFF2-40B4-BE49-F238E27FC236}">
                  <a16:creationId xmlns:a16="http://schemas.microsoft.com/office/drawing/2014/main" id="{1A32F9F9-E0EE-2B4C-B19B-7E90CCC368F3}"/>
                </a:ext>
              </a:extLst>
            </p:cNvPr>
            <p:cNvSpPr>
              <a:spLocks noChangeAspect="1"/>
            </p:cNvSpPr>
            <p:nvPr>
              <p:custDataLst>
                <p:tags r:id="rId73"/>
              </p:custDataLst>
            </p:nvPr>
          </p:nvSpPr>
          <p:spPr>
            <a:xfrm>
              <a:off x="4143873" y="3448764"/>
              <a:ext cx="286974" cy="212252"/>
            </a:xfrm>
            <a:custGeom>
              <a:avLst/>
              <a:gdLst/>
              <a:ahLst/>
              <a:cxnLst/>
              <a:rect l="0" t="0" r="0" b="0"/>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70" name="Freeform 68">
              <a:extLst>
                <a:ext uri="{FF2B5EF4-FFF2-40B4-BE49-F238E27FC236}">
                  <a16:creationId xmlns:a16="http://schemas.microsoft.com/office/drawing/2014/main" id="{A51E6241-25EC-B84B-9FD0-F335754DDA7E}"/>
                </a:ext>
              </a:extLst>
            </p:cNvPr>
            <p:cNvSpPr>
              <a:spLocks noChangeAspect="1"/>
            </p:cNvSpPr>
            <p:nvPr>
              <p:custDataLst>
                <p:tags r:id="rId74"/>
              </p:custDataLst>
            </p:nvPr>
          </p:nvSpPr>
          <p:spPr>
            <a:xfrm>
              <a:off x="4899432" y="2958486"/>
              <a:ext cx="110610" cy="72100"/>
            </a:xfrm>
            <a:custGeom>
              <a:avLst/>
              <a:gdLst/>
              <a:ahLst/>
              <a:cxnLst/>
              <a:rect l="0" t="0" r="0" b="0"/>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71" name="Freeform 69">
              <a:extLst>
                <a:ext uri="{FF2B5EF4-FFF2-40B4-BE49-F238E27FC236}">
                  <a16:creationId xmlns:a16="http://schemas.microsoft.com/office/drawing/2014/main" id="{A16530C3-2A1C-0245-8750-A9BE1C510EF6}"/>
                </a:ext>
              </a:extLst>
            </p:cNvPr>
            <p:cNvSpPr>
              <a:spLocks noChangeAspect="1"/>
            </p:cNvSpPr>
            <p:nvPr>
              <p:custDataLst>
                <p:tags r:id="rId75"/>
              </p:custDataLst>
            </p:nvPr>
          </p:nvSpPr>
          <p:spPr>
            <a:xfrm>
              <a:off x="5121357" y="4180128"/>
              <a:ext cx="342438" cy="268823"/>
            </a:xfrm>
            <a:custGeom>
              <a:avLst/>
              <a:gdLst/>
              <a:ahLst/>
              <a:cxnLst/>
              <a:rect l="0" t="0" r="0" b="0"/>
              <a:pathLst>
                <a:path w="342438" h="268823">
                  <a:moveTo>
                    <a:pt x="114303" y="0"/>
                  </a:moveTo>
                  <a:lnTo>
                    <a:pt x="128311" y="10705"/>
                  </a:lnTo>
                  <a:lnTo>
                    <a:pt x="141848" y="5161"/>
                  </a:lnTo>
                  <a:lnTo>
                    <a:pt x="147416" y="10090"/>
                  </a:lnTo>
                  <a:lnTo>
                    <a:pt x="163243" y="10372"/>
                  </a:lnTo>
                  <a:lnTo>
                    <a:pt x="183332" y="19815"/>
                  </a:lnTo>
                  <a:lnTo>
                    <a:pt x="189302" y="27939"/>
                  </a:lnTo>
                  <a:lnTo>
                    <a:pt x="199536" y="35490"/>
                  </a:lnTo>
                  <a:lnTo>
                    <a:pt x="209027" y="49255"/>
                  </a:lnTo>
                  <a:lnTo>
                    <a:pt x="216917" y="56843"/>
                  </a:lnTo>
                  <a:lnTo>
                    <a:pt x="208802" y="67204"/>
                  </a:lnTo>
                  <a:lnTo>
                    <a:pt x="200994" y="78175"/>
                  </a:lnTo>
                  <a:lnTo>
                    <a:pt x="202791" y="84631"/>
                  </a:lnTo>
                  <a:lnTo>
                    <a:pt x="203160" y="91740"/>
                  </a:lnTo>
                  <a:lnTo>
                    <a:pt x="216053" y="92130"/>
                  </a:lnTo>
                  <a:lnTo>
                    <a:pt x="221611" y="90474"/>
                  </a:lnTo>
                  <a:lnTo>
                    <a:pt x="226734" y="94637"/>
                  </a:lnTo>
                  <a:lnTo>
                    <a:pt x="221699" y="102908"/>
                  </a:lnTo>
                  <a:lnTo>
                    <a:pt x="230225" y="115751"/>
                  </a:lnTo>
                  <a:lnTo>
                    <a:pt x="238740" y="126968"/>
                  </a:lnTo>
                  <a:lnTo>
                    <a:pt x="247552" y="135278"/>
                  </a:lnTo>
                  <a:lnTo>
                    <a:pt x="323023" y="162869"/>
                  </a:lnTo>
                  <a:lnTo>
                    <a:pt x="342437" y="162726"/>
                  </a:lnTo>
                  <a:lnTo>
                    <a:pt x="277210" y="232298"/>
                  </a:lnTo>
                  <a:lnTo>
                    <a:pt x="247139" y="233318"/>
                  </a:lnTo>
                  <a:lnTo>
                    <a:pt x="226568" y="249624"/>
                  </a:lnTo>
                  <a:lnTo>
                    <a:pt x="211771" y="250050"/>
                  </a:lnTo>
                  <a:lnTo>
                    <a:pt x="205457" y="257338"/>
                  </a:lnTo>
                  <a:lnTo>
                    <a:pt x="189685" y="257334"/>
                  </a:lnTo>
                  <a:lnTo>
                    <a:pt x="180375" y="249521"/>
                  </a:lnTo>
                  <a:lnTo>
                    <a:pt x="159288" y="259191"/>
                  </a:lnTo>
                  <a:lnTo>
                    <a:pt x="152466" y="268822"/>
                  </a:lnTo>
                  <a:lnTo>
                    <a:pt x="137073" y="267004"/>
                  </a:lnTo>
                  <a:lnTo>
                    <a:pt x="131963" y="264339"/>
                  </a:lnTo>
                  <a:lnTo>
                    <a:pt x="126558" y="264975"/>
                  </a:lnTo>
                  <a:lnTo>
                    <a:pt x="119262" y="264742"/>
                  </a:lnTo>
                  <a:lnTo>
                    <a:pt x="90044" y="245108"/>
                  </a:lnTo>
                  <a:lnTo>
                    <a:pt x="73978" y="245108"/>
                  </a:lnTo>
                  <a:lnTo>
                    <a:pt x="66092" y="237496"/>
                  </a:lnTo>
                  <a:lnTo>
                    <a:pt x="66092" y="224508"/>
                  </a:lnTo>
                  <a:lnTo>
                    <a:pt x="54102" y="220624"/>
                  </a:lnTo>
                  <a:lnTo>
                    <a:pt x="40460" y="195415"/>
                  </a:lnTo>
                  <a:lnTo>
                    <a:pt x="29918" y="190039"/>
                  </a:lnTo>
                  <a:lnTo>
                    <a:pt x="25874" y="180765"/>
                  </a:lnTo>
                  <a:lnTo>
                    <a:pt x="14175" y="169453"/>
                  </a:lnTo>
                  <a:lnTo>
                    <a:pt x="0" y="167790"/>
                  </a:lnTo>
                  <a:lnTo>
                    <a:pt x="7862" y="154558"/>
                  </a:lnTo>
                  <a:lnTo>
                    <a:pt x="20113" y="153987"/>
                  </a:lnTo>
                  <a:lnTo>
                    <a:pt x="23563" y="146887"/>
                  </a:lnTo>
                  <a:lnTo>
                    <a:pt x="23255" y="125965"/>
                  </a:lnTo>
                  <a:lnTo>
                    <a:pt x="30083" y="101566"/>
                  </a:lnTo>
                  <a:lnTo>
                    <a:pt x="41017" y="95027"/>
                  </a:lnTo>
                  <a:lnTo>
                    <a:pt x="43337" y="85476"/>
                  </a:lnTo>
                  <a:lnTo>
                    <a:pt x="53236" y="67605"/>
                  </a:lnTo>
                  <a:lnTo>
                    <a:pt x="67158" y="55998"/>
                  </a:lnTo>
                  <a:lnTo>
                    <a:pt x="76543" y="32876"/>
                  </a:lnTo>
                  <a:lnTo>
                    <a:pt x="80220" y="12669"/>
                  </a:lnTo>
                  <a:lnTo>
                    <a:pt x="107094" y="1759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72" name="Freeform 70">
              <a:extLst>
                <a:ext uri="{FF2B5EF4-FFF2-40B4-BE49-F238E27FC236}">
                  <a16:creationId xmlns:a16="http://schemas.microsoft.com/office/drawing/2014/main" id="{F7273054-C018-5A44-8FAF-AC44D2A57C19}"/>
                </a:ext>
              </a:extLst>
            </p:cNvPr>
            <p:cNvSpPr>
              <a:spLocks noChangeAspect="1"/>
            </p:cNvSpPr>
            <p:nvPr>
              <p:custDataLst>
                <p:tags r:id="rId76"/>
              </p:custDataLst>
            </p:nvPr>
          </p:nvSpPr>
          <p:spPr>
            <a:xfrm>
              <a:off x="4837242" y="2562085"/>
              <a:ext cx="250921" cy="388320"/>
            </a:xfrm>
            <a:custGeom>
              <a:avLst/>
              <a:gdLst/>
              <a:ahLst/>
              <a:cxnLst/>
              <a:rect l="0" t="0" r="0" b="0"/>
              <a:pathLst>
                <a:path w="250921" h="388320">
                  <a:moveTo>
                    <a:pt x="183423" y="45026"/>
                  </a:moveTo>
                  <a:lnTo>
                    <a:pt x="180053" y="73184"/>
                  </a:lnTo>
                  <a:lnTo>
                    <a:pt x="215404" y="99622"/>
                  </a:lnTo>
                  <a:lnTo>
                    <a:pt x="194102" y="129132"/>
                  </a:lnTo>
                  <a:lnTo>
                    <a:pt x="220948" y="172895"/>
                  </a:lnTo>
                  <a:lnTo>
                    <a:pt x="205409" y="205257"/>
                  </a:lnTo>
                  <a:lnTo>
                    <a:pt x="226189" y="232951"/>
                  </a:lnTo>
                  <a:lnTo>
                    <a:pt x="216753" y="256906"/>
                  </a:lnTo>
                  <a:lnTo>
                    <a:pt x="250920" y="281805"/>
                  </a:lnTo>
                  <a:lnTo>
                    <a:pt x="242239" y="300154"/>
                  </a:lnTo>
                  <a:lnTo>
                    <a:pt x="220798" y="320751"/>
                  </a:lnTo>
                  <a:lnTo>
                    <a:pt x="171375" y="365587"/>
                  </a:lnTo>
                  <a:lnTo>
                    <a:pt x="129484" y="368352"/>
                  </a:lnTo>
                  <a:lnTo>
                    <a:pt x="88892" y="381047"/>
                  </a:lnTo>
                  <a:lnTo>
                    <a:pt x="51338" y="388319"/>
                  </a:lnTo>
                  <a:lnTo>
                    <a:pt x="37975" y="369464"/>
                  </a:lnTo>
                  <a:lnTo>
                    <a:pt x="15619" y="358042"/>
                  </a:lnTo>
                  <a:lnTo>
                    <a:pt x="20758" y="323400"/>
                  </a:lnTo>
                  <a:lnTo>
                    <a:pt x="9547" y="291189"/>
                  </a:lnTo>
                  <a:lnTo>
                    <a:pt x="20554" y="270137"/>
                  </a:lnTo>
                  <a:lnTo>
                    <a:pt x="41483" y="247197"/>
                  </a:lnTo>
                  <a:lnTo>
                    <a:pt x="94291" y="206992"/>
                  </a:lnTo>
                  <a:lnTo>
                    <a:pt x="109700" y="199152"/>
                  </a:lnTo>
                  <a:lnTo>
                    <a:pt x="107299" y="183203"/>
                  </a:lnTo>
                  <a:lnTo>
                    <a:pt x="75198" y="165237"/>
                  </a:lnTo>
                  <a:lnTo>
                    <a:pt x="67408" y="150325"/>
                  </a:lnTo>
                  <a:lnTo>
                    <a:pt x="66799" y="90229"/>
                  </a:lnTo>
                  <a:lnTo>
                    <a:pt x="30768" y="63086"/>
                  </a:lnTo>
                  <a:lnTo>
                    <a:pt x="0" y="43346"/>
                  </a:lnTo>
                  <a:lnTo>
                    <a:pt x="13834" y="32609"/>
                  </a:lnTo>
                  <a:lnTo>
                    <a:pt x="39486" y="54039"/>
                  </a:lnTo>
                  <a:lnTo>
                    <a:pt x="69628" y="52042"/>
                  </a:lnTo>
                  <a:lnTo>
                    <a:pt x="94410" y="61772"/>
                  </a:lnTo>
                  <a:lnTo>
                    <a:pt x="116420" y="43919"/>
                  </a:lnTo>
                  <a:lnTo>
                    <a:pt x="127740" y="13988"/>
                  </a:lnTo>
                  <a:lnTo>
                    <a:pt x="163580" y="0"/>
                  </a:lnTo>
                  <a:lnTo>
                    <a:pt x="193201" y="1640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73" name="Freeform 71">
              <a:extLst>
                <a:ext uri="{FF2B5EF4-FFF2-40B4-BE49-F238E27FC236}">
                  <a16:creationId xmlns:a16="http://schemas.microsoft.com/office/drawing/2014/main" id="{E61ABC09-7361-4D4E-AFCF-8CEE963F2F9C}"/>
                </a:ext>
              </a:extLst>
            </p:cNvPr>
            <p:cNvSpPr>
              <a:spLocks noChangeAspect="1"/>
            </p:cNvSpPr>
            <p:nvPr>
              <p:custDataLst>
                <p:tags r:id="rId77"/>
              </p:custDataLst>
            </p:nvPr>
          </p:nvSpPr>
          <p:spPr>
            <a:xfrm>
              <a:off x="4254682" y="3231904"/>
              <a:ext cx="3963580" cy="2550519"/>
            </a:xfrm>
            <a:custGeom>
              <a:avLst/>
              <a:gdLst>
                <a:gd name="connsiteX0" fmla="*/ 1697208 w 3963580"/>
                <a:gd name="connsiteY0" fmla="*/ 2516185 h 2550519"/>
                <a:gd name="connsiteX1" fmla="*/ 1712096 w 3963580"/>
                <a:gd name="connsiteY1" fmla="*/ 2525545 h 2550519"/>
                <a:gd name="connsiteX2" fmla="*/ 1733909 w 3963580"/>
                <a:gd name="connsiteY2" fmla="*/ 2529268 h 2550519"/>
                <a:gd name="connsiteX3" fmla="*/ 1734717 w 3963580"/>
                <a:gd name="connsiteY3" fmla="*/ 2534938 h 2550519"/>
                <a:gd name="connsiteX4" fmla="*/ 1728254 w 3963580"/>
                <a:gd name="connsiteY4" fmla="*/ 2548566 h 2550519"/>
                <a:gd name="connsiteX5" fmla="*/ 1692822 w 3963580"/>
                <a:gd name="connsiteY5" fmla="*/ 2550519 h 2550519"/>
                <a:gd name="connsiteX6" fmla="*/ 1692245 w 3963580"/>
                <a:gd name="connsiteY6" fmla="*/ 2534565 h 2550519"/>
                <a:gd name="connsiteX7" fmla="*/ 1695650 w 3963580"/>
                <a:gd name="connsiteY7" fmla="*/ 2522273 h 2550519"/>
                <a:gd name="connsiteX8" fmla="*/ 3892245 w 3963580"/>
                <a:gd name="connsiteY8" fmla="*/ 1766377 h 2550519"/>
                <a:gd name="connsiteX9" fmla="*/ 3902180 w 3963580"/>
                <a:gd name="connsiteY9" fmla="*/ 1766722 h 2550519"/>
                <a:gd name="connsiteX10" fmla="*/ 3915107 w 3963580"/>
                <a:gd name="connsiteY10" fmla="*/ 1774896 h 2550519"/>
                <a:gd name="connsiteX11" fmla="*/ 3925263 w 3963580"/>
                <a:gd name="connsiteY11" fmla="*/ 1783082 h 2550519"/>
                <a:gd name="connsiteX12" fmla="*/ 3932649 w 3963580"/>
                <a:gd name="connsiteY12" fmla="*/ 1789831 h 2550519"/>
                <a:gd name="connsiteX13" fmla="*/ 3951577 w 3963580"/>
                <a:gd name="connsiteY13" fmla="*/ 1804806 h 2550519"/>
                <a:gd name="connsiteX14" fmla="*/ 3963580 w 3963580"/>
                <a:gd name="connsiteY14" fmla="*/ 1815941 h 2550519"/>
                <a:gd name="connsiteX15" fmla="*/ 3954810 w 3963580"/>
                <a:gd name="connsiteY15" fmla="*/ 1821760 h 2550519"/>
                <a:gd name="connsiteX16" fmla="*/ 3942107 w 3963580"/>
                <a:gd name="connsiteY16" fmla="*/ 1815207 h 2550519"/>
                <a:gd name="connsiteX17" fmla="*/ 3925595 w 3963580"/>
                <a:gd name="connsiteY17" fmla="*/ 1804312 h 2550519"/>
                <a:gd name="connsiteX18" fmla="*/ 3910716 w 3963580"/>
                <a:gd name="connsiteY18" fmla="*/ 1791515 h 2550519"/>
                <a:gd name="connsiteX19" fmla="*/ 3895440 w 3963580"/>
                <a:gd name="connsiteY19" fmla="*/ 1774529 h 2550519"/>
                <a:gd name="connsiteX20" fmla="*/ 322750 w 3963580"/>
                <a:gd name="connsiteY20" fmla="*/ 237592 h 2550519"/>
                <a:gd name="connsiteX21" fmla="*/ 326674 w 3963580"/>
                <a:gd name="connsiteY21" fmla="*/ 261485 h 2550519"/>
                <a:gd name="connsiteX22" fmla="*/ 319051 w 3963580"/>
                <a:gd name="connsiteY22" fmla="*/ 282847 h 2550519"/>
                <a:gd name="connsiteX23" fmla="*/ 308571 w 3963580"/>
                <a:gd name="connsiteY23" fmla="*/ 277231 h 2550519"/>
                <a:gd name="connsiteX24" fmla="*/ 303227 w 3963580"/>
                <a:gd name="connsiteY24" fmla="*/ 258597 h 2550519"/>
                <a:gd name="connsiteX25" fmla="*/ 307885 w 3963580"/>
                <a:gd name="connsiteY25" fmla="*/ 248256 h 2550519"/>
                <a:gd name="connsiteX26" fmla="*/ 164024 w 3963580"/>
                <a:gd name="connsiteY26" fmla="*/ 0 h 2550519"/>
                <a:gd name="connsiteX27" fmla="*/ 167367 w 3963580"/>
                <a:gd name="connsiteY27" fmla="*/ 10719 h 2550519"/>
                <a:gd name="connsiteX28" fmla="*/ 178096 w 3963580"/>
                <a:gd name="connsiteY28" fmla="*/ 11221 h 2550519"/>
                <a:gd name="connsiteX29" fmla="*/ 188828 w 3963580"/>
                <a:gd name="connsiteY29" fmla="*/ 23398 h 2550519"/>
                <a:gd name="connsiteX30" fmla="*/ 204936 w 3963580"/>
                <a:gd name="connsiteY30" fmla="*/ 37629 h 2550519"/>
                <a:gd name="connsiteX31" fmla="*/ 216782 w 3963580"/>
                <a:gd name="connsiteY31" fmla="*/ 35284 h 2550519"/>
                <a:gd name="connsiteX32" fmla="*/ 236976 w 3963580"/>
                <a:gd name="connsiteY32" fmla="*/ 48983 h 2550519"/>
                <a:gd name="connsiteX33" fmla="*/ 242139 w 3963580"/>
                <a:gd name="connsiteY33" fmla="*/ 51583 h 2550519"/>
                <a:gd name="connsiteX34" fmla="*/ 248800 w 3963580"/>
                <a:gd name="connsiteY34" fmla="*/ 50950 h 2550519"/>
                <a:gd name="connsiteX35" fmla="*/ 259693 w 3963580"/>
                <a:gd name="connsiteY35" fmla="*/ 58779 h 2550519"/>
                <a:gd name="connsiteX36" fmla="*/ 292956 w 3963580"/>
                <a:gd name="connsiteY36" fmla="*/ 64272 h 2550519"/>
                <a:gd name="connsiteX37" fmla="*/ 281286 w 3963580"/>
                <a:gd name="connsiteY37" fmla="*/ 84594 h 2550519"/>
                <a:gd name="connsiteX38" fmla="*/ 278356 w 3963580"/>
                <a:gd name="connsiteY38" fmla="*/ 105573 h 2550519"/>
                <a:gd name="connsiteX39" fmla="*/ 272019 w 3963580"/>
                <a:gd name="connsiteY39" fmla="*/ 110578 h 2550519"/>
                <a:gd name="connsiteX40" fmla="*/ 261501 w 3963580"/>
                <a:gd name="connsiteY40" fmla="*/ 107882 h 2550519"/>
                <a:gd name="connsiteX41" fmla="*/ 262244 w 3963580"/>
                <a:gd name="connsiteY41" fmla="*/ 115318 h 2550519"/>
                <a:gd name="connsiteX42" fmla="*/ 245362 w 3963580"/>
                <a:gd name="connsiteY42" fmla="*/ 131691 h 2550519"/>
                <a:gd name="connsiteX43" fmla="*/ 245021 w 3963580"/>
                <a:gd name="connsiteY43" fmla="*/ 144812 h 2550519"/>
                <a:gd name="connsiteX44" fmla="*/ 256043 w 3963580"/>
                <a:gd name="connsiteY44" fmla="*/ 140279 h 2550519"/>
                <a:gd name="connsiteX45" fmla="*/ 263972 w 3963580"/>
                <a:gd name="connsiteY45" fmla="*/ 152948 h 2550519"/>
                <a:gd name="connsiteX46" fmla="*/ 263020 w 3963580"/>
                <a:gd name="connsiteY46" fmla="*/ 161081 h 2550519"/>
                <a:gd name="connsiteX47" fmla="*/ 269813 w 3963580"/>
                <a:gd name="connsiteY47" fmla="*/ 171851 h 2550519"/>
                <a:gd name="connsiteX48" fmla="*/ 261810 w 3963580"/>
                <a:gd name="connsiteY48" fmla="*/ 180557 h 2550519"/>
                <a:gd name="connsiteX49" fmla="*/ 267757 w 3963580"/>
                <a:gd name="connsiteY49" fmla="*/ 202555 h 2550519"/>
                <a:gd name="connsiteX50" fmla="*/ 280268 w 3963580"/>
                <a:gd name="connsiteY50" fmla="*/ 206145 h 2550519"/>
                <a:gd name="connsiteX51" fmla="*/ 277628 w 3963580"/>
                <a:gd name="connsiteY51" fmla="*/ 218395 h 2550519"/>
                <a:gd name="connsiteX52" fmla="*/ 256716 w 3963580"/>
                <a:gd name="connsiteY52" fmla="*/ 234263 h 2550519"/>
                <a:gd name="connsiteX53" fmla="*/ 211191 w 3963580"/>
                <a:gd name="connsiteY53" fmla="*/ 226669 h 2550519"/>
                <a:gd name="connsiteX54" fmla="*/ 177569 w 3963580"/>
                <a:gd name="connsiteY54" fmla="*/ 235767 h 2550519"/>
                <a:gd name="connsiteX55" fmla="*/ 174928 w 3963580"/>
                <a:gd name="connsiteY55" fmla="*/ 252576 h 2550519"/>
                <a:gd name="connsiteX56" fmla="*/ 148171 w 3963580"/>
                <a:gd name="connsiteY56" fmla="*/ 256183 h 2550519"/>
                <a:gd name="connsiteX57" fmla="*/ 122198 w 3963580"/>
                <a:gd name="connsiteY57" fmla="*/ 243580 h 2550519"/>
                <a:gd name="connsiteX58" fmla="*/ 113807 w 3963580"/>
                <a:gd name="connsiteY58" fmla="*/ 249609 h 2550519"/>
                <a:gd name="connsiteX59" fmla="*/ 71315 w 3963580"/>
                <a:gd name="connsiteY59" fmla="*/ 236919 h 2550519"/>
                <a:gd name="connsiteX60" fmla="*/ 62115 w 3963580"/>
                <a:gd name="connsiteY60" fmla="*/ 226019 h 2550519"/>
                <a:gd name="connsiteX61" fmla="*/ 74052 w 3963580"/>
                <a:gd name="connsiteY61" fmla="*/ 209122 h 2550519"/>
                <a:gd name="connsiteX62" fmla="*/ 78447 w 3963580"/>
                <a:gd name="connsiteY62" fmla="*/ 152263 h 2550519"/>
                <a:gd name="connsiteX63" fmla="*/ 54628 w 3963580"/>
                <a:gd name="connsiteY63" fmla="*/ 121837 h 2550519"/>
                <a:gd name="connsiteX64" fmla="*/ 37603 w 3963580"/>
                <a:gd name="connsiteY64" fmla="*/ 107046 h 2550519"/>
                <a:gd name="connsiteX65" fmla="*/ 2327 w 3963580"/>
                <a:gd name="connsiteY65" fmla="*/ 95747 h 2550519"/>
                <a:gd name="connsiteX66" fmla="*/ 0 w 3963580"/>
                <a:gd name="connsiteY66" fmla="*/ 74192 h 2550519"/>
                <a:gd name="connsiteX67" fmla="*/ 29927 w 3963580"/>
                <a:gd name="connsiteY67" fmla="*/ 67728 h 2550519"/>
                <a:gd name="connsiteX68" fmla="*/ 68690 w 3963580"/>
                <a:gd name="connsiteY68" fmla="*/ 75372 h 2550519"/>
                <a:gd name="connsiteX69" fmla="*/ 61373 w 3963580"/>
                <a:gd name="connsiteY69" fmla="*/ 41574 h 2550519"/>
                <a:gd name="connsiteX70" fmla="*/ 83164 w 3963580"/>
                <a:gd name="connsiteY70" fmla="*/ 54434 h 2550519"/>
                <a:gd name="connsiteX71" fmla="*/ 136906 w 3963580"/>
                <a:gd name="connsiteY71" fmla="*/ 31008 h 2550519"/>
                <a:gd name="connsiteX72" fmla="*/ 143836 w 3963580"/>
                <a:gd name="connsiteY72" fmla="*/ 6160 h 25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63580" h="2550519">
                  <a:moveTo>
                    <a:pt x="1697208" y="2516185"/>
                  </a:moveTo>
                  <a:lnTo>
                    <a:pt x="1712096" y="2525545"/>
                  </a:lnTo>
                  <a:lnTo>
                    <a:pt x="1733909" y="2529268"/>
                  </a:lnTo>
                  <a:lnTo>
                    <a:pt x="1734717" y="2534938"/>
                  </a:lnTo>
                  <a:lnTo>
                    <a:pt x="1728254" y="2548566"/>
                  </a:lnTo>
                  <a:lnTo>
                    <a:pt x="1692822" y="2550519"/>
                  </a:lnTo>
                  <a:lnTo>
                    <a:pt x="1692245" y="2534565"/>
                  </a:lnTo>
                  <a:lnTo>
                    <a:pt x="1695650" y="2522273"/>
                  </a:lnTo>
                  <a:close/>
                  <a:moveTo>
                    <a:pt x="3892245" y="1766377"/>
                  </a:moveTo>
                  <a:lnTo>
                    <a:pt x="3902180" y="1766722"/>
                  </a:lnTo>
                  <a:lnTo>
                    <a:pt x="3915107" y="1774896"/>
                  </a:lnTo>
                  <a:lnTo>
                    <a:pt x="3925263" y="1783082"/>
                  </a:lnTo>
                  <a:lnTo>
                    <a:pt x="3932649" y="1789831"/>
                  </a:lnTo>
                  <a:lnTo>
                    <a:pt x="3951577" y="1804806"/>
                  </a:lnTo>
                  <a:lnTo>
                    <a:pt x="3963580" y="1815941"/>
                  </a:lnTo>
                  <a:lnTo>
                    <a:pt x="3954810" y="1821760"/>
                  </a:lnTo>
                  <a:lnTo>
                    <a:pt x="3942107" y="1815207"/>
                  </a:lnTo>
                  <a:lnTo>
                    <a:pt x="3925595" y="1804312"/>
                  </a:lnTo>
                  <a:lnTo>
                    <a:pt x="3910716" y="1791515"/>
                  </a:lnTo>
                  <a:lnTo>
                    <a:pt x="3895440" y="1774529"/>
                  </a:lnTo>
                  <a:close/>
                  <a:moveTo>
                    <a:pt x="322750" y="237592"/>
                  </a:moveTo>
                  <a:lnTo>
                    <a:pt x="326674" y="261485"/>
                  </a:lnTo>
                  <a:lnTo>
                    <a:pt x="319051" y="282847"/>
                  </a:lnTo>
                  <a:lnTo>
                    <a:pt x="308571" y="277231"/>
                  </a:lnTo>
                  <a:lnTo>
                    <a:pt x="303227" y="258597"/>
                  </a:lnTo>
                  <a:lnTo>
                    <a:pt x="307885" y="248256"/>
                  </a:lnTo>
                  <a:close/>
                  <a:moveTo>
                    <a:pt x="164024" y="0"/>
                  </a:moveTo>
                  <a:lnTo>
                    <a:pt x="167367" y="10719"/>
                  </a:lnTo>
                  <a:lnTo>
                    <a:pt x="178096" y="11221"/>
                  </a:lnTo>
                  <a:lnTo>
                    <a:pt x="188828" y="23398"/>
                  </a:lnTo>
                  <a:lnTo>
                    <a:pt x="204936" y="37629"/>
                  </a:lnTo>
                  <a:lnTo>
                    <a:pt x="216782" y="35284"/>
                  </a:lnTo>
                  <a:lnTo>
                    <a:pt x="236976" y="48983"/>
                  </a:lnTo>
                  <a:lnTo>
                    <a:pt x="242139" y="51583"/>
                  </a:lnTo>
                  <a:lnTo>
                    <a:pt x="248800" y="50950"/>
                  </a:lnTo>
                  <a:lnTo>
                    <a:pt x="259693" y="58779"/>
                  </a:lnTo>
                  <a:lnTo>
                    <a:pt x="292956" y="64272"/>
                  </a:lnTo>
                  <a:lnTo>
                    <a:pt x="281286" y="84594"/>
                  </a:lnTo>
                  <a:lnTo>
                    <a:pt x="278356" y="105573"/>
                  </a:lnTo>
                  <a:lnTo>
                    <a:pt x="272019" y="110578"/>
                  </a:lnTo>
                  <a:lnTo>
                    <a:pt x="261501" y="107882"/>
                  </a:lnTo>
                  <a:lnTo>
                    <a:pt x="262244" y="115318"/>
                  </a:lnTo>
                  <a:lnTo>
                    <a:pt x="245362" y="131691"/>
                  </a:lnTo>
                  <a:lnTo>
                    <a:pt x="245021" y="144812"/>
                  </a:lnTo>
                  <a:lnTo>
                    <a:pt x="256043" y="140279"/>
                  </a:lnTo>
                  <a:lnTo>
                    <a:pt x="263972" y="152948"/>
                  </a:lnTo>
                  <a:lnTo>
                    <a:pt x="263020" y="161081"/>
                  </a:lnTo>
                  <a:lnTo>
                    <a:pt x="269813" y="171851"/>
                  </a:lnTo>
                  <a:lnTo>
                    <a:pt x="261810" y="180557"/>
                  </a:lnTo>
                  <a:lnTo>
                    <a:pt x="267757" y="202555"/>
                  </a:lnTo>
                  <a:lnTo>
                    <a:pt x="280268" y="206145"/>
                  </a:lnTo>
                  <a:lnTo>
                    <a:pt x="277628" y="218395"/>
                  </a:lnTo>
                  <a:lnTo>
                    <a:pt x="256716" y="234263"/>
                  </a:lnTo>
                  <a:lnTo>
                    <a:pt x="211191" y="226669"/>
                  </a:lnTo>
                  <a:lnTo>
                    <a:pt x="177569" y="235767"/>
                  </a:lnTo>
                  <a:lnTo>
                    <a:pt x="174928" y="252576"/>
                  </a:lnTo>
                  <a:lnTo>
                    <a:pt x="148171" y="256183"/>
                  </a:lnTo>
                  <a:lnTo>
                    <a:pt x="122198" y="243580"/>
                  </a:lnTo>
                  <a:lnTo>
                    <a:pt x="113807" y="249609"/>
                  </a:lnTo>
                  <a:lnTo>
                    <a:pt x="71315" y="236919"/>
                  </a:lnTo>
                  <a:lnTo>
                    <a:pt x="62115" y="226019"/>
                  </a:lnTo>
                  <a:lnTo>
                    <a:pt x="74052" y="209122"/>
                  </a:lnTo>
                  <a:lnTo>
                    <a:pt x="78447" y="152263"/>
                  </a:lnTo>
                  <a:lnTo>
                    <a:pt x="54628" y="121837"/>
                  </a:lnTo>
                  <a:lnTo>
                    <a:pt x="37603" y="107046"/>
                  </a:lnTo>
                  <a:lnTo>
                    <a:pt x="2327" y="95747"/>
                  </a:lnTo>
                  <a:lnTo>
                    <a:pt x="0" y="74192"/>
                  </a:lnTo>
                  <a:lnTo>
                    <a:pt x="29927" y="67728"/>
                  </a:lnTo>
                  <a:lnTo>
                    <a:pt x="68690" y="75372"/>
                  </a:lnTo>
                  <a:lnTo>
                    <a:pt x="61373" y="41574"/>
                  </a:lnTo>
                  <a:lnTo>
                    <a:pt x="83164" y="54434"/>
                  </a:lnTo>
                  <a:lnTo>
                    <a:pt x="136906" y="31008"/>
                  </a:lnTo>
                  <a:lnTo>
                    <a:pt x="143836" y="616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74" name="Freeform 72">
              <a:extLst>
                <a:ext uri="{FF2B5EF4-FFF2-40B4-BE49-F238E27FC236}">
                  <a16:creationId xmlns:a16="http://schemas.microsoft.com/office/drawing/2014/main" id="{40B3F69F-283B-8849-8360-B53C7B68FB6F}"/>
                </a:ext>
              </a:extLst>
            </p:cNvPr>
            <p:cNvSpPr>
              <a:spLocks noChangeAspect="1"/>
            </p:cNvSpPr>
            <p:nvPr>
              <p:custDataLst>
                <p:tags r:id="rId78"/>
              </p:custDataLst>
            </p:nvPr>
          </p:nvSpPr>
          <p:spPr>
            <a:xfrm>
              <a:off x="4563768" y="4474253"/>
              <a:ext cx="129898" cy="145608"/>
            </a:xfrm>
            <a:custGeom>
              <a:avLst/>
              <a:gdLst/>
              <a:ahLst/>
              <a:cxnLst/>
              <a:rect l="0" t="0" r="0" b="0"/>
              <a:pathLst>
                <a:path w="129898" h="145608">
                  <a:moveTo>
                    <a:pt x="52992" y="145607"/>
                  </a:moveTo>
                  <a:lnTo>
                    <a:pt x="29272" y="122281"/>
                  </a:lnTo>
                  <a:lnTo>
                    <a:pt x="14017" y="103221"/>
                  </a:lnTo>
                  <a:lnTo>
                    <a:pt x="0" y="79371"/>
                  </a:lnTo>
                  <a:lnTo>
                    <a:pt x="741" y="71701"/>
                  </a:lnTo>
                  <a:lnTo>
                    <a:pt x="5780" y="64321"/>
                  </a:lnTo>
                  <a:lnTo>
                    <a:pt x="11388" y="47516"/>
                  </a:lnTo>
                  <a:lnTo>
                    <a:pt x="16040" y="30401"/>
                  </a:lnTo>
                  <a:lnTo>
                    <a:pt x="23828" y="29067"/>
                  </a:lnTo>
                  <a:lnTo>
                    <a:pt x="57408" y="29303"/>
                  </a:lnTo>
                  <a:lnTo>
                    <a:pt x="57209" y="1518"/>
                  </a:lnTo>
                  <a:lnTo>
                    <a:pt x="68178" y="0"/>
                  </a:lnTo>
                  <a:lnTo>
                    <a:pt x="82206" y="3094"/>
                  </a:lnTo>
                  <a:lnTo>
                    <a:pt x="95870" y="119"/>
                  </a:lnTo>
                  <a:lnTo>
                    <a:pt x="98744" y="1378"/>
                  </a:lnTo>
                  <a:lnTo>
                    <a:pt x="97065" y="11451"/>
                  </a:lnTo>
                  <a:lnTo>
                    <a:pt x="103517" y="23381"/>
                  </a:lnTo>
                  <a:lnTo>
                    <a:pt x="120691" y="21500"/>
                  </a:lnTo>
                  <a:lnTo>
                    <a:pt x="126453" y="26088"/>
                  </a:lnTo>
                  <a:lnTo>
                    <a:pt x="116460" y="52823"/>
                  </a:lnTo>
                  <a:lnTo>
                    <a:pt x="127380" y="66474"/>
                  </a:lnTo>
                  <a:lnTo>
                    <a:pt x="129897" y="84498"/>
                  </a:lnTo>
                  <a:lnTo>
                    <a:pt x="126983" y="99849"/>
                  </a:lnTo>
                  <a:lnTo>
                    <a:pt x="119901" y="110762"/>
                  </a:lnTo>
                  <a:lnTo>
                    <a:pt x="99524" y="109790"/>
                  </a:lnTo>
                  <a:lnTo>
                    <a:pt x="87190" y="98700"/>
                  </a:lnTo>
                  <a:lnTo>
                    <a:pt x="85353" y="108934"/>
                  </a:lnTo>
                  <a:lnTo>
                    <a:pt x="69778" y="111763"/>
                  </a:lnTo>
                  <a:lnTo>
                    <a:pt x="61862" y="117571"/>
                  </a:lnTo>
                  <a:lnTo>
                    <a:pt x="70567" y="13284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75" name="Freeform 73">
              <a:extLst>
                <a:ext uri="{FF2B5EF4-FFF2-40B4-BE49-F238E27FC236}">
                  <a16:creationId xmlns:a16="http://schemas.microsoft.com/office/drawing/2014/main" id="{06F132C6-0590-2148-8E34-90A5E55EBBCD}"/>
                </a:ext>
              </a:extLst>
            </p:cNvPr>
            <p:cNvSpPr>
              <a:spLocks noChangeAspect="1"/>
            </p:cNvSpPr>
            <p:nvPr>
              <p:custDataLst>
                <p:tags r:id="rId79"/>
              </p:custDataLst>
            </p:nvPr>
          </p:nvSpPr>
          <p:spPr>
            <a:xfrm>
              <a:off x="5282955" y="3454260"/>
              <a:ext cx="154260" cy="69175"/>
            </a:xfrm>
            <a:custGeom>
              <a:avLst/>
              <a:gdLst/>
              <a:ahLst/>
              <a:cxnLst/>
              <a:rect l="0" t="0" r="0" b="0"/>
              <a:pathLst>
                <a:path w="154260" h="69175">
                  <a:moveTo>
                    <a:pt x="36911" y="56199"/>
                  </a:moveTo>
                  <a:lnTo>
                    <a:pt x="40352" y="44385"/>
                  </a:lnTo>
                  <a:lnTo>
                    <a:pt x="34589" y="25426"/>
                  </a:lnTo>
                  <a:lnTo>
                    <a:pt x="21247" y="15134"/>
                  </a:lnTo>
                  <a:lnTo>
                    <a:pt x="8457" y="11914"/>
                  </a:lnTo>
                  <a:lnTo>
                    <a:pt x="0" y="3320"/>
                  </a:lnTo>
                  <a:lnTo>
                    <a:pt x="2815" y="0"/>
                  </a:lnTo>
                  <a:lnTo>
                    <a:pt x="22325" y="4804"/>
                  </a:lnTo>
                  <a:lnTo>
                    <a:pt x="56307" y="9345"/>
                  </a:lnTo>
                  <a:lnTo>
                    <a:pt x="87737" y="22756"/>
                  </a:lnTo>
                  <a:lnTo>
                    <a:pt x="91781" y="27938"/>
                  </a:lnTo>
                  <a:lnTo>
                    <a:pt x="105779" y="23561"/>
                  </a:lnTo>
                  <a:lnTo>
                    <a:pt x="127307" y="29392"/>
                  </a:lnTo>
                  <a:lnTo>
                    <a:pt x="134374" y="40795"/>
                  </a:lnTo>
                  <a:lnTo>
                    <a:pt x="148882" y="47217"/>
                  </a:lnTo>
                  <a:lnTo>
                    <a:pt x="142891" y="51030"/>
                  </a:lnTo>
                  <a:lnTo>
                    <a:pt x="154259" y="65951"/>
                  </a:lnTo>
                  <a:lnTo>
                    <a:pt x="151114" y="69174"/>
                  </a:lnTo>
                  <a:lnTo>
                    <a:pt x="138671" y="67541"/>
                  </a:lnTo>
                  <a:lnTo>
                    <a:pt x="121471" y="59624"/>
                  </a:lnTo>
                  <a:lnTo>
                    <a:pt x="115817" y="64123"/>
                  </a:lnTo>
                  <a:lnTo>
                    <a:pt x="83738" y="68413"/>
                  </a:lnTo>
                  <a:lnTo>
                    <a:pt x="61505" y="5488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76" name="Freeform 74">
              <a:extLst>
                <a:ext uri="{FF2B5EF4-FFF2-40B4-BE49-F238E27FC236}">
                  <a16:creationId xmlns:a16="http://schemas.microsoft.com/office/drawing/2014/main" id="{A856F703-A476-4741-BA04-DADF3AC660EC}"/>
                </a:ext>
              </a:extLst>
            </p:cNvPr>
            <p:cNvSpPr>
              <a:spLocks noChangeAspect="1"/>
            </p:cNvSpPr>
            <p:nvPr>
              <p:custDataLst>
                <p:tags r:id="rId80"/>
              </p:custDataLst>
            </p:nvPr>
          </p:nvSpPr>
          <p:spPr>
            <a:xfrm>
              <a:off x="4285798" y="4270760"/>
              <a:ext cx="99360" cy="148403"/>
            </a:xfrm>
            <a:custGeom>
              <a:avLst/>
              <a:gdLst/>
              <a:ahLst/>
              <a:cxnLst/>
              <a:rect l="0" t="0" r="0" b="0"/>
              <a:pathLst>
                <a:path w="99360" h="148403">
                  <a:moveTo>
                    <a:pt x="99359" y="120201"/>
                  </a:moveTo>
                  <a:lnTo>
                    <a:pt x="63171" y="133754"/>
                  </a:lnTo>
                  <a:lnTo>
                    <a:pt x="50337" y="141691"/>
                  </a:lnTo>
                  <a:lnTo>
                    <a:pt x="29538" y="148402"/>
                  </a:lnTo>
                  <a:lnTo>
                    <a:pt x="8962" y="141831"/>
                  </a:lnTo>
                  <a:lnTo>
                    <a:pt x="10010" y="132699"/>
                  </a:lnTo>
                  <a:lnTo>
                    <a:pt x="0" y="112750"/>
                  </a:lnTo>
                  <a:lnTo>
                    <a:pt x="6019" y="86565"/>
                  </a:lnTo>
                  <a:lnTo>
                    <a:pt x="15746" y="67062"/>
                  </a:lnTo>
                  <a:lnTo>
                    <a:pt x="9622" y="33961"/>
                  </a:lnTo>
                  <a:lnTo>
                    <a:pt x="6474" y="16411"/>
                  </a:lnTo>
                  <a:lnTo>
                    <a:pt x="7016" y="3168"/>
                  </a:lnTo>
                  <a:lnTo>
                    <a:pt x="47112" y="2068"/>
                  </a:lnTo>
                  <a:lnTo>
                    <a:pt x="57309" y="3770"/>
                  </a:lnTo>
                  <a:lnTo>
                    <a:pt x="64762" y="0"/>
                  </a:lnTo>
                  <a:lnTo>
                    <a:pt x="75438" y="1861"/>
                  </a:lnTo>
                  <a:lnTo>
                    <a:pt x="73739" y="9140"/>
                  </a:lnTo>
                  <a:lnTo>
                    <a:pt x="83373" y="21172"/>
                  </a:lnTo>
                  <a:lnTo>
                    <a:pt x="83335" y="38094"/>
                  </a:lnTo>
                  <a:lnTo>
                    <a:pt x="85534" y="56425"/>
                  </a:lnTo>
                  <a:lnTo>
                    <a:pt x="91324" y="64904"/>
                  </a:lnTo>
                  <a:lnTo>
                    <a:pt x="86221" y="85821"/>
                  </a:lnTo>
                  <a:lnTo>
                    <a:pt x="88054" y="97360"/>
                  </a:lnTo>
                  <a:lnTo>
                    <a:pt x="94207" y="11206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77" name="Freeform 75">
              <a:extLst>
                <a:ext uri="{FF2B5EF4-FFF2-40B4-BE49-F238E27FC236}">
                  <a16:creationId xmlns:a16="http://schemas.microsoft.com/office/drawing/2014/main" id="{B6E3CE49-0270-8C4F-8CC1-F6E5463A3D7A}"/>
                </a:ext>
              </a:extLst>
            </p:cNvPr>
            <p:cNvSpPr>
              <a:spLocks noChangeAspect="1"/>
            </p:cNvSpPr>
            <p:nvPr>
              <p:custDataLst>
                <p:tags r:id="rId81"/>
              </p:custDataLst>
            </p:nvPr>
          </p:nvSpPr>
          <p:spPr>
            <a:xfrm>
              <a:off x="4011438" y="4235941"/>
              <a:ext cx="168464" cy="123025"/>
            </a:xfrm>
            <a:custGeom>
              <a:avLst/>
              <a:gdLst/>
              <a:ahLst/>
              <a:cxnLst/>
              <a:rect l="0" t="0" r="0" b="0"/>
              <a:pathLst>
                <a:path w="168464" h="123025">
                  <a:moveTo>
                    <a:pt x="154447" y="114274"/>
                  </a:moveTo>
                  <a:lnTo>
                    <a:pt x="147919" y="113678"/>
                  </a:lnTo>
                  <a:lnTo>
                    <a:pt x="143211" y="123024"/>
                  </a:lnTo>
                  <a:lnTo>
                    <a:pt x="136685" y="122910"/>
                  </a:lnTo>
                  <a:lnTo>
                    <a:pt x="132194" y="117968"/>
                  </a:lnTo>
                  <a:lnTo>
                    <a:pt x="133719" y="108643"/>
                  </a:lnTo>
                  <a:lnTo>
                    <a:pt x="124069" y="94410"/>
                  </a:lnTo>
                  <a:lnTo>
                    <a:pt x="118039" y="97027"/>
                  </a:lnTo>
                  <a:lnTo>
                    <a:pt x="113111" y="97545"/>
                  </a:lnTo>
                  <a:lnTo>
                    <a:pt x="106754" y="98877"/>
                  </a:lnTo>
                  <a:lnTo>
                    <a:pt x="107012" y="90353"/>
                  </a:lnTo>
                  <a:lnTo>
                    <a:pt x="103308" y="84267"/>
                  </a:lnTo>
                  <a:lnTo>
                    <a:pt x="104055" y="77502"/>
                  </a:lnTo>
                  <a:lnTo>
                    <a:pt x="99052" y="67714"/>
                  </a:lnTo>
                  <a:lnTo>
                    <a:pt x="92627" y="59380"/>
                  </a:lnTo>
                  <a:lnTo>
                    <a:pt x="74166" y="59354"/>
                  </a:lnTo>
                  <a:lnTo>
                    <a:pt x="68786" y="63745"/>
                  </a:lnTo>
                  <a:lnTo>
                    <a:pt x="62425" y="64275"/>
                  </a:lnTo>
                  <a:lnTo>
                    <a:pt x="58483" y="69299"/>
                  </a:lnTo>
                  <a:lnTo>
                    <a:pt x="55823" y="75761"/>
                  </a:lnTo>
                  <a:lnTo>
                    <a:pt x="43483" y="85992"/>
                  </a:lnTo>
                  <a:lnTo>
                    <a:pt x="33359" y="72221"/>
                  </a:lnTo>
                  <a:lnTo>
                    <a:pt x="24382" y="63102"/>
                  </a:lnTo>
                  <a:lnTo>
                    <a:pt x="18472" y="60083"/>
                  </a:lnTo>
                  <a:lnTo>
                    <a:pt x="12710" y="55449"/>
                  </a:lnTo>
                  <a:lnTo>
                    <a:pt x="10089" y="45141"/>
                  </a:lnTo>
                  <a:lnTo>
                    <a:pt x="6712" y="39998"/>
                  </a:lnTo>
                  <a:lnTo>
                    <a:pt x="0" y="36172"/>
                  </a:lnTo>
                  <a:lnTo>
                    <a:pt x="10263" y="24780"/>
                  </a:lnTo>
                  <a:lnTo>
                    <a:pt x="17269" y="25214"/>
                  </a:lnTo>
                  <a:lnTo>
                    <a:pt x="23289" y="21288"/>
                  </a:lnTo>
                  <a:lnTo>
                    <a:pt x="28381" y="21251"/>
                  </a:lnTo>
                  <a:lnTo>
                    <a:pt x="32019" y="18150"/>
                  </a:lnTo>
                  <a:lnTo>
                    <a:pt x="30055" y="10392"/>
                  </a:lnTo>
                  <a:lnTo>
                    <a:pt x="32583" y="7944"/>
                  </a:lnTo>
                  <a:lnTo>
                    <a:pt x="33005" y="0"/>
                  </a:lnTo>
                  <a:lnTo>
                    <a:pt x="44146" y="242"/>
                  </a:lnTo>
                  <a:lnTo>
                    <a:pt x="60737" y="5955"/>
                  </a:lnTo>
                  <a:lnTo>
                    <a:pt x="65826" y="5431"/>
                  </a:lnTo>
                  <a:lnTo>
                    <a:pt x="67558" y="2825"/>
                  </a:lnTo>
                  <a:lnTo>
                    <a:pt x="80144" y="4678"/>
                  </a:lnTo>
                  <a:lnTo>
                    <a:pt x="83476" y="3356"/>
                  </a:lnTo>
                  <a:lnTo>
                    <a:pt x="84810" y="11933"/>
                  </a:lnTo>
                  <a:lnTo>
                    <a:pt x="88470" y="11907"/>
                  </a:lnTo>
                  <a:lnTo>
                    <a:pt x="94495" y="8786"/>
                  </a:lnTo>
                  <a:lnTo>
                    <a:pt x="98320" y="9567"/>
                  </a:lnTo>
                  <a:lnTo>
                    <a:pt x="104729" y="15512"/>
                  </a:lnTo>
                  <a:lnTo>
                    <a:pt x="114608" y="17382"/>
                  </a:lnTo>
                  <a:lnTo>
                    <a:pt x="120938" y="12316"/>
                  </a:lnTo>
                  <a:lnTo>
                    <a:pt x="128395" y="9184"/>
                  </a:lnTo>
                  <a:lnTo>
                    <a:pt x="133942" y="5903"/>
                  </a:lnTo>
                  <a:lnTo>
                    <a:pt x="138562" y="6518"/>
                  </a:lnTo>
                  <a:lnTo>
                    <a:pt x="143691" y="11664"/>
                  </a:lnTo>
                  <a:lnTo>
                    <a:pt x="146442" y="18119"/>
                  </a:lnTo>
                  <a:lnTo>
                    <a:pt x="155901" y="27917"/>
                  </a:lnTo>
                  <a:lnTo>
                    <a:pt x="151169" y="33933"/>
                  </a:lnTo>
                  <a:lnTo>
                    <a:pt x="150268" y="41532"/>
                  </a:lnTo>
                  <a:lnTo>
                    <a:pt x="155185" y="39235"/>
                  </a:lnTo>
                  <a:lnTo>
                    <a:pt x="158070" y="41959"/>
                  </a:lnTo>
                  <a:lnTo>
                    <a:pt x="156846" y="48909"/>
                  </a:lnTo>
                  <a:lnTo>
                    <a:pt x="163896" y="55634"/>
                  </a:lnTo>
                  <a:lnTo>
                    <a:pt x="159293" y="57442"/>
                  </a:lnTo>
                  <a:lnTo>
                    <a:pt x="157440" y="65354"/>
                  </a:lnTo>
                  <a:lnTo>
                    <a:pt x="162761" y="74980"/>
                  </a:lnTo>
                  <a:lnTo>
                    <a:pt x="168463" y="93605"/>
                  </a:lnTo>
                  <a:lnTo>
                    <a:pt x="159890" y="96400"/>
                  </a:lnTo>
                  <a:lnTo>
                    <a:pt x="157684" y="99631"/>
                  </a:lnTo>
                  <a:lnTo>
                    <a:pt x="159467" y="104118"/>
                  </a:lnTo>
                  <a:lnTo>
                    <a:pt x="158107" y="11424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78" name="Freeform 76">
              <a:extLst>
                <a:ext uri="{FF2B5EF4-FFF2-40B4-BE49-F238E27FC236}">
                  <a16:creationId xmlns:a16="http://schemas.microsoft.com/office/drawing/2014/main" id="{866936D1-F8EB-3B4D-8033-E37D9DEB2B6C}"/>
                </a:ext>
              </a:extLst>
            </p:cNvPr>
            <p:cNvSpPr>
              <a:spLocks noChangeAspect="1"/>
            </p:cNvSpPr>
            <p:nvPr>
              <p:custDataLst>
                <p:tags r:id="rId82"/>
              </p:custDataLst>
            </p:nvPr>
          </p:nvSpPr>
          <p:spPr>
            <a:xfrm>
              <a:off x="3971939" y="4205641"/>
              <a:ext cx="69170" cy="17536"/>
            </a:xfrm>
            <a:custGeom>
              <a:avLst/>
              <a:gdLst/>
              <a:ahLst/>
              <a:cxnLst/>
              <a:rect l="0" t="0" r="0" b="0"/>
              <a:pathLst>
                <a:path w="69170" h="17536">
                  <a:moveTo>
                    <a:pt x="0" y="17040"/>
                  </a:moveTo>
                  <a:lnTo>
                    <a:pt x="2950" y="6620"/>
                  </a:lnTo>
                  <a:lnTo>
                    <a:pt x="28090" y="5947"/>
                  </a:lnTo>
                  <a:lnTo>
                    <a:pt x="33303" y="379"/>
                  </a:lnTo>
                  <a:lnTo>
                    <a:pt x="40621" y="0"/>
                  </a:lnTo>
                  <a:lnTo>
                    <a:pt x="49731" y="5788"/>
                  </a:lnTo>
                  <a:lnTo>
                    <a:pt x="56895" y="5898"/>
                  </a:lnTo>
                  <a:lnTo>
                    <a:pt x="64505" y="1939"/>
                  </a:lnTo>
                  <a:lnTo>
                    <a:pt x="69169" y="8733"/>
                  </a:lnTo>
                  <a:lnTo>
                    <a:pt x="59180" y="14006"/>
                  </a:lnTo>
                  <a:lnTo>
                    <a:pt x="49150" y="13592"/>
                  </a:lnTo>
                  <a:lnTo>
                    <a:pt x="39249" y="8628"/>
                  </a:lnTo>
                  <a:lnTo>
                    <a:pt x="30693" y="14053"/>
                  </a:lnTo>
                  <a:lnTo>
                    <a:pt x="26557" y="14246"/>
                  </a:lnTo>
                  <a:lnTo>
                    <a:pt x="21011" y="1753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79" name="Freeform 77">
              <a:extLst>
                <a:ext uri="{FF2B5EF4-FFF2-40B4-BE49-F238E27FC236}">
                  <a16:creationId xmlns:a16="http://schemas.microsoft.com/office/drawing/2014/main" id="{93C7C9B5-AC78-7140-AB9C-749D2727D626}"/>
                </a:ext>
              </a:extLst>
            </p:cNvPr>
            <p:cNvSpPr>
              <a:spLocks noChangeAspect="1"/>
            </p:cNvSpPr>
            <p:nvPr>
              <p:custDataLst>
                <p:tags r:id="rId83"/>
              </p:custDataLst>
            </p:nvPr>
          </p:nvSpPr>
          <p:spPr>
            <a:xfrm>
              <a:off x="3975726" y="4234956"/>
              <a:ext cx="68718" cy="37158"/>
            </a:xfrm>
            <a:custGeom>
              <a:avLst/>
              <a:gdLst/>
              <a:ahLst/>
              <a:cxnLst/>
              <a:rect l="0" t="0" r="0" b="0"/>
              <a:pathLst>
                <a:path w="68718" h="37158">
                  <a:moveTo>
                    <a:pt x="35712" y="37157"/>
                  </a:moveTo>
                  <a:lnTo>
                    <a:pt x="23389" y="27387"/>
                  </a:lnTo>
                  <a:lnTo>
                    <a:pt x="13671" y="25841"/>
                  </a:lnTo>
                  <a:lnTo>
                    <a:pt x="8372" y="19246"/>
                  </a:lnTo>
                  <a:lnTo>
                    <a:pt x="8506" y="15684"/>
                  </a:lnTo>
                  <a:lnTo>
                    <a:pt x="1468" y="10715"/>
                  </a:lnTo>
                  <a:lnTo>
                    <a:pt x="0" y="5704"/>
                  </a:lnTo>
                  <a:lnTo>
                    <a:pt x="12228" y="1885"/>
                  </a:lnTo>
                  <a:lnTo>
                    <a:pt x="19872" y="2640"/>
                  </a:lnTo>
                  <a:lnTo>
                    <a:pt x="26060" y="0"/>
                  </a:lnTo>
                  <a:lnTo>
                    <a:pt x="68717" y="985"/>
                  </a:lnTo>
                  <a:lnTo>
                    <a:pt x="68295" y="8929"/>
                  </a:lnTo>
                  <a:lnTo>
                    <a:pt x="65767" y="11377"/>
                  </a:lnTo>
                  <a:lnTo>
                    <a:pt x="67731" y="19135"/>
                  </a:lnTo>
                  <a:lnTo>
                    <a:pt x="64093" y="22236"/>
                  </a:lnTo>
                  <a:lnTo>
                    <a:pt x="59001" y="22273"/>
                  </a:lnTo>
                  <a:lnTo>
                    <a:pt x="52981" y="26199"/>
                  </a:lnTo>
                  <a:lnTo>
                    <a:pt x="45975" y="2576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80" name="Freeform 78">
              <a:extLst>
                <a:ext uri="{FF2B5EF4-FFF2-40B4-BE49-F238E27FC236}">
                  <a16:creationId xmlns:a16="http://schemas.microsoft.com/office/drawing/2014/main" id="{97833419-2C91-BC4C-BC1C-64245208AF3D}"/>
                </a:ext>
              </a:extLst>
            </p:cNvPr>
            <p:cNvSpPr>
              <a:spLocks noChangeAspect="1"/>
            </p:cNvSpPr>
            <p:nvPr>
              <p:custDataLst>
                <p:tags r:id="rId84"/>
              </p:custDataLst>
            </p:nvPr>
          </p:nvSpPr>
          <p:spPr>
            <a:xfrm>
              <a:off x="4575485" y="4475244"/>
              <a:ext cx="45692" cy="29411"/>
            </a:xfrm>
            <a:custGeom>
              <a:avLst/>
              <a:gdLst/>
              <a:ahLst/>
              <a:cxnLst/>
              <a:rect l="0" t="0" r="0" b="0"/>
              <a:pathLst>
                <a:path w="45692" h="29411">
                  <a:moveTo>
                    <a:pt x="4323" y="29410"/>
                  </a:moveTo>
                  <a:lnTo>
                    <a:pt x="0" y="25929"/>
                  </a:lnTo>
                  <a:lnTo>
                    <a:pt x="7930" y="0"/>
                  </a:lnTo>
                  <a:lnTo>
                    <a:pt x="45492" y="527"/>
                  </a:lnTo>
                  <a:lnTo>
                    <a:pt x="45691" y="28312"/>
                  </a:lnTo>
                  <a:lnTo>
                    <a:pt x="12111" y="2807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81" name="Freeform 79">
              <a:extLst>
                <a:ext uri="{FF2B5EF4-FFF2-40B4-BE49-F238E27FC236}">
                  <a16:creationId xmlns:a16="http://schemas.microsoft.com/office/drawing/2014/main" id="{5AF39932-7BFE-B546-A248-76D201132A35}"/>
                </a:ext>
              </a:extLst>
            </p:cNvPr>
            <p:cNvSpPr>
              <a:spLocks noChangeAspect="1"/>
            </p:cNvSpPr>
            <p:nvPr>
              <p:custDataLst>
                <p:tags r:id="rId85"/>
              </p:custDataLst>
            </p:nvPr>
          </p:nvSpPr>
          <p:spPr>
            <a:xfrm>
              <a:off x="4825803" y="3502410"/>
              <a:ext cx="148979" cy="185536"/>
            </a:xfrm>
            <a:custGeom>
              <a:avLst/>
              <a:gdLst/>
              <a:ahLst/>
              <a:cxnLst/>
              <a:rect l="l" t="t" r="r" b="b"/>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82" name="Freeform 80">
              <a:extLst>
                <a:ext uri="{FF2B5EF4-FFF2-40B4-BE49-F238E27FC236}">
                  <a16:creationId xmlns:a16="http://schemas.microsoft.com/office/drawing/2014/main" id="{0017C164-EA43-8948-A6BE-9CA85BA6171C}"/>
                </a:ext>
              </a:extLst>
            </p:cNvPr>
            <p:cNvSpPr>
              <a:spLocks noChangeAspect="1"/>
            </p:cNvSpPr>
            <p:nvPr>
              <p:custDataLst>
                <p:tags r:id="rId86"/>
              </p:custDataLst>
            </p:nvPr>
          </p:nvSpPr>
          <p:spPr>
            <a:xfrm>
              <a:off x="4675926" y="3370037"/>
              <a:ext cx="132345" cy="114250"/>
            </a:xfrm>
            <a:custGeom>
              <a:avLst/>
              <a:gdLst/>
              <a:ahLst/>
              <a:cxnLst/>
              <a:rect l="0" t="0" r="0" b="0"/>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83" name="Freeform 81">
              <a:extLst>
                <a:ext uri="{FF2B5EF4-FFF2-40B4-BE49-F238E27FC236}">
                  <a16:creationId xmlns:a16="http://schemas.microsoft.com/office/drawing/2014/main" id="{F2D7BE25-E56A-B841-8620-6D938F58D79A}"/>
                </a:ext>
              </a:extLst>
            </p:cNvPr>
            <p:cNvSpPr>
              <a:spLocks noChangeAspect="1"/>
            </p:cNvSpPr>
            <p:nvPr>
              <p:custDataLst>
                <p:tags r:id="rId87"/>
              </p:custDataLst>
            </p:nvPr>
          </p:nvSpPr>
          <p:spPr>
            <a:xfrm>
              <a:off x="4734679" y="3307886"/>
              <a:ext cx="150228" cy="83637"/>
            </a:xfrm>
            <a:custGeom>
              <a:avLst/>
              <a:gdLst/>
              <a:ahLst/>
              <a:cxnLst/>
              <a:rect l="0" t="0" r="0" b="0"/>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84" name="Freeform 82">
              <a:extLst>
                <a:ext uri="{FF2B5EF4-FFF2-40B4-BE49-F238E27FC236}">
                  <a16:creationId xmlns:a16="http://schemas.microsoft.com/office/drawing/2014/main" id="{C15EBC22-DAF5-544A-B2A8-D52819BF26A2}"/>
                </a:ext>
              </a:extLst>
            </p:cNvPr>
            <p:cNvSpPr>
              <a:spLocks noChangeAspect="1"/>
            </p:cNvSpPr>
            <p:nvPr>
              <p:custDataLst>
                <p:tags r:id="rId88"/>
              </p:custDataLst>
            </p:nvPr>
          </p:nvSpPr>
          <p:spPr>
            <a:xfrm>
              <a:off x="6560305" y="4401358"/>
              <a:ext cx="1055820" cy="366587"/>
            </a:xfrm>
            <a:custGeom>
              <a:avLst/>
              <a:gdLst/>
              <a:ahLst/>
              <a:cxnLst/>
              <a:rect l="l" t="t" r="r" b="b"/>
              <a:pathLst>
                <a:path w="1055820" h="366587">
                  <a:moveTo>
                    <a:pt x="568002" y="343315"/>
                  </a:moveTo>
                  <a:lnTo>
                    <a:pt x="580130" y="350408"/>
                  </a:lnTo>
                  <a:lnTo>
                    <a:pt x="588204" y="357486"/>
                  </a:lnTo>
                  <a:lnTo>
                    <a:pt x="586821" y="363779"/>
                  </a:lnTo>
                  <a:lnTo>
                    <a:pt x="577112" y="364224"/>
                  </a:lnTo>
                  <a:lnTo>
                    <a:pt x="546477" y="347894"/>
                  </a:lnTo>
                  <a:close/>
                  <a:moveTo>
                    <a:pt x="684993" y="332412"/>
                  </a:moveTo>
                  <a:lnTo>
                    <a:pt x="687332" y="336999"/>
                  </a:lnTo>
                  <a:lnTo>
                    <a:pt x="687760" y="344057"/>
                  </a:lnTo>
                  <a:lnTo>
                    <a:pt x="672696" y="361457"/>
                  </a:lnTo>
                  <a:lnTo>
                    <a:pt x="652938" y="366587"/>
                  </a:lnTo>
                  <a:lnTo>
                    <a:pt x="650168" y="363788"/>
                  </a:lnTo>
                  <a:lnTo>
                    <a:pt x="652246" y="355863"/>
                  </a:lnTo>
                  <a:lnTo>
                    <a:pt x="662172" y="341655"/>
                  </a:lnTo>
                  <a:close/>
                  <a:moveTo>
                    <a:pt x="521829" y="313882"/>
                  </a:moveTo>
                  <a:lnTo>
                    <a:pt x="530153" y="320079"/>
                  </a:lnTo>
                  <a:lnTo>
                    <a:pt x="544414" y="318180"/>
                  </a:lnTo>
                  <a:lnTo>
                    <a:pt x="550140" y="328063"/>
                  </a:lnTo>
                  <a:lnTo>
                    <a:pt x="523454" y="332734"/>
                  </a:lnTo>
                  <a:lnTo>
                    <a:pt x="507465" y="335857"/>
                  </a:lnTo>
                  <a:lnTo>
                    <a:pt x="495057" y="335672"/>
                  </a:lnTo>
                  <a:lnTo>
                    <a:pt x="502988" y="322282"/>
                  </a:lnTo>
                  <a:lnTo>
                    <a:pt x="515644" y="322099"/>
                  </a:lnTo>
                  <a:close/>
                  <a:moveTo>
                    <a:pt x="637324" y="313848"/>
                  </a:moveTo>
                  <a:lnTo>
                    <a:pt x="633941" y="326760"/>
                  </a:lnTo>
                  <a:lnTo>
                    <a:pt x="599260" y="333362"/>
                  </a:lnTo>
                  <a:lnTo>
                    <a:pt x="568558" y="330495"/>
                  </a:lnTo>
                  <a:lnTo>
                    <a:pt x="568477" y="321996"/>
                  </a:lnTo>
                  <a:lnTo>
                    <a:pt x="586809" y="317164"/>
                  </a:lnTo>
                  <a:lnTo>
                    <a:pt x="601272" y="324131"/>
                  </a:lnTo>
                  <a:lnTo>
                    <a:pt x="616638" y="322362"/>
                  </a:lnTo>
                  <a:close/>
                  <a:moveTo>
                    <a:pt x="248338" y="262860"/>
                  </a:moveTo>
                  <a:lnTo>
                    <a:pt x="276345" y="264228"/>
                  </a:lnTo>
                  <a:lnTo>
                    <a:pt x="294974" y="273282"/>
                  </a:lnTo>
                  <a:lnTo>
                    <a:pt x="304548" y="275048"/>
                  </a:lnTo>
                  <a:lnTo>
                    <a:pt x="307702" y="283294"/>
                  </a:lnTo>
                  <a:lnTo>
                    <a:pt x="351923" y="285605"/>
                  </a:lnTo>
                  <a:lnTo>
                    <a:pt x="357009" y="276050"/>
                  </a:lnTo>
                  <a:lnTo>
                    <a:pt x="399833" y="287198"/>
                  </a:lnTo>
                  <a:lnTo>
                    <a:pt x="408234" y="302237"/>
                  </a:lnTo>
                  <a:lnTo>
                    <a:pt x="442861" y="306469"/>
                  </a:lnTo>
                  <a:lnTo>
                    <a:pt x="471174" y="320275"/>
                  </a:lnTo>
                  <a:lnTo>
                    <a:pt x="444837" y="329133"/>
                  </a:lnTo>
                  <a:lnTo>
                    <a:pt x="419451" y="319767"/>
                  </a:lnTo>
                  <a:lnTo>
                    <a:pt x="398560" y="320400"/>
                  </a:lnTo>
                  <a:lnTo>
                    <a:pt x="374609" y="318679"/>
                  </a:lnTo>
                  <a:lnTo>
                    <a:pt x="353006" y="314507"/>
                  </a:lnTo>
                  <a:lnTo>
                    <a:pt x="326265" y="305637"/>
                  </a:lnTo>
                  <a:lnTo>
                    <a:pt x="309322" y="303337"/>
                  </a:lnTo>
                  <a:lnTo>
                    <a:pt x="299722" y="306240"/>
                  </a:lnTo>
                  <a:lnTo>
                    <a:pt x="257627" y="296682"/>
                  </a:lnTo>
                  <a:lnTo>
                    <a:pt x="253622" y="286707"/>
                  </a:lnTo>
                  <a:lnTo>
                    <a:pt x="232499" y="285003"/>
                  </a:lnTo>
                  <a:close/>
                  <a:moveTo>
                    <a:pt x="904993" y="252420"/>
                  </a:moveTo>
                  <a:lnTo>
                    <a:pt x="910241" y="259193"/>
                  </a:lnTo>
                  <a:lnTo>
                    <a:pt x="910186" y="270238"/>
                  </a:lnTo>
                  <a:lnTo>
                    <a:pt x="898310" y="286019"/>
                  </a:lnTo>
                  <a:lnTo>
                    <a:pt x="896063" y="268571"/>
                  </a:lnTo>
                  <a:lnTo>
                    <a:pt x="900161" y="260246"/>
                  </a:lnTo>
                  <a:close/>
                  <a:moveTo>
                    <a:pt x="731896" y="198869"/>
                  </a:moveTo>
                  <a:lnTo>
                    <a:pt x="737634" y="206488"/>
                  </a:lnTo>
                  <a:lnTo>
                    <a:pt x="728994" y="214159"/>
                  </a:lnTo>
                  <a:lnTo>
                    <a:pt x="713041" y="209916"/>
                  </a:lnTo>
                  <a:lnTo>
                    <a:pt x="708546" y="199977"/>
                  </a:lnTo>
                  <a:close/>
                  <a:moveTo>
                    <a:pt x="786610" y="191311"/>
                  </a:moveTo>
                  <a:lnTo>
                    <a:pt x="812009" y="198047"/>
                  </a:lnTo>
                  <a:lnTo>
                    <a:pt x="820400" y="215719"/>
                  </a:lnTo>
                  <a:lnTo>
                    <a:pt x="800911" y="206193"/>
                  </a:lnTo>
                  <a:lnTo>
                    <a:pt x="781630" y="204260"/>
                  </a:lnTo>
                  <a:lnTo>
                    <a:pt x="768599" y="205786"/>
                  </a:lnTo>
                  <a:lnTo>
                    <a:pt x="752630" y="204972"/>
                  </a:lnTo>
                  <a:lnTo>
                    <a:pt x="758100" y="192269"/>
                  </a:lnTo>
                  <a:close/>
                  <a:moveTo>
                    <a:pt x="856069" y="135143"/>
                  </a:moveTo>
                  <a:lnTo>
                    <a:pt x="893127" y="144622"/>
                  </a:lnTo>
                  <a:lnTo>
                    <a:pt x="896769" y="153202"/>
                  </a:lnTo>
                  <a:lnTo>
                    <a:pt x="903215" y="190549"/>
                  </a:lnTo>
                  <a:lnTo>
                    <a:pt x="927105" y="204378"/>
                  </a:lnTo>
                  <a:lnTo>
                    <a:pt x="946396" y="179874"/>
                  </a:lnTo>
                  <a:lnTo>
                    <a:pt x="972882" y="165938"/>
                  </a:lnTo>
                  <a:lnTo>
                    <a:pt x="993402" y="165919"/>
                  </a:lnTo>
                  <a:lnTo>
                    <a:pt x="1013142" y="173969"/>
                  </a:lnTo>
                  <a:lnTo>
                    <a:pt x="1030263" y="182230"/>
                  </a:lnTo>
                  <a:lnTo>
                    <a:pt x="1055043" y="186644"/>
                  </a:lnTo>
                  <a:lnTo>
                    <a:pt x="1055432" y="262005"/>
                  </a:lnTo>
                  <a:lnTo>
                    <a:pt x="1055820" y="337649"/>
                  </a:lnTo>
                  <a:lnTo>
                    <a:pt x="1035266" y="318563"/>
                  </a:lnTo>
                  <a:lnTo>
                    <a:pt x="1011823" y="313890"/>
                  </a:lnTo>
                  <a:lnTo>
                    <a:pt x="1006138" y="320510"/>
                  </a:lnTo>
                  <a:lnTo>
                    <a:pt x="976892" y="321225"/>
                  </a:lnTo>
                  <a:lnTo>
                    <a:pt x="986693" y="302322"/>
                  </a:lnTo>
                  <a:lnTo>
                    <a:pt x="1001225" y="295878"/>
                  </a:lnTo>
                  <a:lnTo>
                    <a:pt x="995207" y="270665"/>
                  </a:lnTo>
                  <a:lnTo>
                    <a:pt x="984125" y="251224"/>
                  </a:lnTo>
                  <a:lnTo>
                    <a:pt x="939377" y="231629"/>
                  </a:lnTo>
                  <a:lnTo>
                    <a:pt x="920342" y="229696"/>
                  </a:lnTo>
                  <a:lnTo>
                    <a:pt x="885678" y="208332"/>
                  </a:lnTo>
                  <a:lnTo>
                    <a:pt x="878865" y="219565"/>
                  </a:lnTo>
                  <a:lnTo>
                    <a:pt x="870007" y="221603"/>
                  </a:lnTo>
                  <a:lnTo>
                    <a:pt x="864767" y="213126"/>
                  </a:lnTo>
                  <a:lnTo>
                    <a:pt x="864694" y="203085"/>
                  </a:lnTo>
                  <a:lnTo>
                    <a:pt x="847060" y="191735"/>
                  </a:lnTo>
                  <a:lnTo>
                    <a:pt x="871920" y="183417"/>
                  </a:lnTo>
                  <a:lnTo>
                    <a:pt x="888383" y="183866"/>
                  </a:lnTo>
                  <a:lnTo>
                    <a:pt x="886448" y="177738"/>
                  </a:lnTo>
                  <a:lnTo>
                    <a:pt x="852659" y="177692"/>
                  </a:lnTo>
                  <a:lnTo>
                    <a:pt x="843514" y="163944"/>
                  </a:lnTo>
                  <a:lnTo>
                    <a:pt x="822892" y="159681"/>
                  </a:lnTo>
                  <a:lnTo>
                    <a:pt x="813122" y="148258"/>
                  </a:lnTo>
                  <a:lnTo>
                    <a:pt x="844237" y="142666"/>
                  </a:lnTo>
                  <a:close/>
                  <a:moveTo>
                    <a:pt x="687239" y="88678"/>
                  </a:moveTo>
                  <a:lnTo>
                    <a:pt x="691268" y="93837"/>
                  </a:lnTo>
                  <a:lnTo>
                    <a:pt x="672721" y="116736"/>
                  </a:lnTo>
                  <a:lnTo>
                    <a:pt x="655374" y="121174"/>
                  </a:lnTo>
                  <a:lnTo>
                    <a:pt x="633158" y="116661"/>
                  </a:lnTo>
                  <a:lnTo>
                    <a:pt x="594695" y="117813"/>
                  </a:lnTo>
                  <a:lnTo>
                    <a:pt x="574528" y="121136"/>
                  </a:lnTo>
                  <a:lnTo>
                    <a:pt x="571246" y="138608"/>
                  </a:lnTo>
                  <a:lnTo>
                    <a:pt x="591906" y="159136"/>
                  </a:lnTo>
                  <a:lnTo>
                    <a:pt x="604369" y="148679"/>
                  </a:lnTo>
                  <a:lnTo>
                    <a:pt x="647412" y="140824"/>
                  </a:lnTo>
                  <a:lnTo>
                    <a:pt x="645515" y="151456"/>
                  </a:lnTo>
                  <a:lnTo>
                    <a:pt x="635458" y="148102"/>
                  </a:lnTo>
                  <a:lnTo>
                    <a:pt x="625436" y="161628"/>
                  </a:lnTo>
                  <a:lnTo>
                    <a:pt x="605117" y="170578"/>
                  </a:lnTo>
                  <a:lnTo>
                    <a:pt x="626961" y="200180"/>
                  </a:lnTo>
                  <a:lnTo>
                    <a:pt x="622744" y="208116"/>
                  </a:lnTo>
                  <a:lnTo>
                    <a:pt x="643497" y="234802"/>
                  </a:lnTo>
                  <a:lnTo>
                    <a:pt x="643297" y="250002"/>
                  </a:lnTo>
                  <a:lnTo>
                    <a:pt x="630976" y="256808"/>
                  </a:lnTo>
                  <a:lnTo>
                    <a:pt x="621925" y="248667"/>
                  </a:lnTo>
                  <a:lnTo>
                    <a:pt x="633078" y="229724"/>
                  </a:lnTo>
                  <a:lnTo>
                    <a:pt x="610426" y="238680"/>
                  </a:lnTo>
                  <a:lnTo>
                    <a:pt x="604683" y="232277"/>
                  </a:lnTo>
                  <a:lnTo>
                    <a:pt x="607678" y="223349"/>
                  </a:lnTo>
                  <a:lnTo>
                    <a:pt x="591034" y="209794"/>
                  </a:lnTo>
                  <a:lnTo>
                    <a:pt x="592748" y="187279"/>
                  </a:lnTo>
                  <a:lnTo>
                    <a:pt x="577353" y="194301"/>
                  </a:lnTo>
                  <a:lnTo>
                    <a:pt x="579306" y="221247"/>
                  </a:lnTo>
                  <a:lnTo>
                    <a:pt x="580244" y="254346"/>
                  </a:lnTo>
                  <a:lnTo>
                    <a:pt x="565607" y="257707"/>
                  </a:lnTo>
                  <a:lnTo>
                    <a:pt x="555689" y="250912"/>
                  </a:lnTo>
                  <a:lnTo>
                    <a:pt x="562307" y="229614"/>
                  </a:lnTo>
                  <a:lnTo>
                    <a:pt x="558734" y="207305"/>
                  </a:lnTo>
                  <a:lnTo>
                    <a:pt x="549028" y="207134"/>
                  </a:lnTo>
                  <a:lnTo>
                    <a:pt x="541859" y="191307"/>
                  </a:lnTo>
                  <a:lnTo>
                    <a:pt x="551397" y="176181"/>
                  </a:lnTo>
                  <a:lnTo>
                    <a:pt x="554685" y="157849"/>
                  </a:lnTo>
                  <a:lnTo>
                    <a:pt x="566286" y="123052"/>
                  </a:lnTo>
                  <a:lnTo>
                    <a:pt x="571127" y="113537"/>
                  </a:lnTo>
                  <a:lnTo>
                    <a:pt x="590749" y="96391"/>
                  </a:lnTo>
                  <a:lnTo>
                    <a:pt x="608777" y="103207"/>
                  </a:lnTo>
                  <a:lnTo>
                    <a:pt x="637879" y="106410"/>
                  </a:lnTo>
                  <a:lnTo>
                    <a:pt x="664422" y="105443"/>
                  </a:lnTo>
                  <a:close/>
                  <a:moveTo>
                    <a:pt x="753403" y="76409"/>
                  </a:moveTo>
                  <a:lnTo>
                    <a:pt x="755060" y="89018"/>
                  </a:lnTo>
                  <a:lnTo>
                    <a:pt x="768688" y="91044"/>
                  </a:lnTo>
                  <a:lnTo>
                    <a:pt x="770851" y="100473"/>
                  </a:lnTo>
                  <a:lnTo>
                    <a:pt x="769644" y="120646"/>
                  </a:lnTo>
                  <a:lnTo>
                    <a:pt x="757737" y="118385"/>
                  </a:lnTo>
                  <a:lnTo>
                    <a:pt x="754226" y="132431"/>
                  </a:lnTo>
                  <a:lnTo>
                    <a:pt x="763736" y="144618"/>
                  </a:lnTo>
                  <a:lnTo>
                    <a:pt x="757272" y="147388"/>
                  </a:lnTo>
                  <a:lnTo>
                    <a:pt x="747957" y="132766"/>
                  </a:lnTo>
                  <a:lnTo>
                    <a:pt x="741103" y="103259"/>
                  </a:lnTo>
                  <a:lnTo>
                    <a:pt x="745743" y="84812"/>
                  </a:lnTo>
                  <a:close/>
                  <a:moveTo>
                    <a:pt x="474868" y="27146"/>
                  </a:moveTo>
                  <a:lnTo>
                    <a:pt x="501406" y="27157"/>
                  </a:lnTo>
                  <a:lnTo>
                    <a:pt x="521414" y="31054"/>
                  </a:lnTo>
                  <a:lnTo>
                    <a:pt x="508285" y="51928"/>
                  </a:lnTo>
                  <a:lnTo>
                    <a:pt x="525253" y="73798"/>
                  </a:lnTo>
                  <a:lnTo>
                    <a:pt x="521267" y="84421"/>
                  </a:lnTo>
                  <a:lnTo>
                    <a:pt x="547145" y="105786"/>
                  </a:lnTo>
                  <a:lnTo>
                    <a:pt x="519795" y="108510"/>
                  </a:lnTo>
                  <a:lnTo>
                    <a:pt x="512096" y="124247"/>
                  </a:lnTo>
                  <a:lnTo>
                    <a:pt x="513096" y="145165"/>
                  </a:lnTo>
                  <a:lnTo>
                    <a:pt x="490899" y="160954"/>
                  </a:lnTo>
                  <a:lnTo>
                    <a:pt x="490293" y="183950"/>
                  </a:lnTo>
                  <a:lnTo>
                    <a:pt x="481390" y="219286"/>
                  </a:lnTo>
                  <a:lnTo>
                    <a:pt x="477992" y="211064"/>
                  </a:lnTo>
                  <a:lnTo>
                    <a:pt x="451769" y="221465"/>
                  </a:lnTo>
                  <a:lnTo>
                    <a:pt x="442624" y="207335"/>
                  </a:lnTo>
                  <a:lnTo>
                    <a:pt x="426167" y="206028"/>
                  </a:lnTo>
                  <a:lnTo>
                    <a:pt x="414656" y="198625"/>
                  </a:lnTo>
                  <a:lnTo>
                    <a:pt x="387214" y="206935"/>
                  </a:lnTo>
                  <a:lnTo>
                    <a:pt x="378792" y="195752"/>
                  </a:lnTo>
                  <a:lnTo>
                    <a:pt x="363672" y="197023"/>
                  </a:lnTo>
                  <a:lnTo>
                    <a:pt x="344643" y="194357"/>
                  </a:lnTo>
                  <a:lnTo>
                    <a:pt x="341113" y="163384"/>
                  </a:lnTo>
                  <a:lnTo>
                    <a:pt x="329595" y="156966"/>
                  </a:lnTo>
                  <a:lnTo>
                    <a:pt x="318514" y="137219"/>
                  </a:lnTo>
                  <a:lnTo>
                    <a:pt x="315300" y="117025"/>
                  </a:lnTo>
                  <a:lnTo>
                    <a:pt x="317989" y="95635"/>
                  </a:lnTo>
                  <a:lnTo>
                    <a:pt x="331703" y="80292"/>
                  </a:lnTo>
                  <a:lnTo>
                    <a:pt x="335557" y="95723"/>
                  </a:lnTo>
                  <a:lnTo>
                    <a:pt x="351341" y="108766"/>
                  </a:lnTo>
                  <a:lnTo>
                    <a:pt x="366232" y="104072"/>
                  </a:lnTo>
                  <a:lnTo>
                    <a:pt x="380968" y="105735"/>
                  </a:lnTo>
                  <a:lnTo>
                    <a:pt x="394419" y="94061"/>
                  </a:lnTo>
                  <a:lnTo>
                    <a:pt x="405488" y="92037"/>
                  </a:lnTo>
                  <a:lnTo>
                    <a:pt x="427325" y="98507"/>
                  </a:lnTo>
                  <a:lnTo>
                    <a:pt x="446149" y="93586"/>
                  </a:lnTo>
                  <a:lnTo>
                    <a:pt x="457983" y="61468"/>
                  </a:lnTo>
                  <a:lnTo>
                    <a:pt x="466871" y="53434"/>
                  </a:lnTo>
                  <a:close/>
                  <a:moveTo>
                    <a:pt x="0" y="0"/>
                  </a:moveTo>
                  <a:lnTo>
                    <a:pt x="14861" y="933"/>
                  </a:lnTo>
                  <a:lnTo>
                    <a:pt x="50593" y="5405"/>
                  </a:lnTo>
                  <a:lnTo>
                    <a:pt x="71005" y="28029"/>
                  </a:lnTo>
                  <a:lnTo>
                    <a:pt x="88857" y="43703"/>
                  </a:lnTo>
                  <a:lnTo>
                    <a:pt x="101586" y="53317"/>
                  </a:lnTo>
                  <a:lnTo>
                    <a:pt x="123455" y="78146"/>
                  </a:lnTo>
                  <a:lnTo>
                    <a:pt x="146920" y="78508"/>
                  </a:lnTo>
                  <a:lnTo>
                    <a:pt x="166315" y="94325"/>
                  </a:lnTo>
                  <a:lnTo>
                    <a:pt x="179671" y="113655"/>
                  </a:lnTo>
                  <a:lnTo>
                    <a:pt x="197249" y="124199"/>
                  </a:lnTo>
                  <a:lnTo>
                    <a:pt x="187999" y="143046"/>
                  </a:lnTo>
                  <a:lnTo>
                    <a:pt x="201229" y="151063"/>
                  </a:lnTo>
                  <a:lnTo>
                    <a:pt x="209521" y="151655"/>
                  </a:lnTo>
                  <a:lnTo>
                    <a:pt x="213433" y="167759"/>
                  </a:lnTo>
                  <a:lnTo>
                    <a:pt x="221475" y="180646"/>
                  </a:lnTo>
                  <a:lnTo>
                    <a:pt x="238423" y="182687"/>
                  </a:lnTo>
                  <a:lnTo>
                    <a:pt x="249651" y="197308"/>
                  </a:lnTo>
                  <a:lnTo>
                    <a:pt x="243855" y="226056"/>
                  </a:lnTo>
                  <a:lnTo>
                    <a:pt x="242936" y="261851"/>
                  </a:lnTo>
                  <a:lnTo>
                    <a:pt x="217377" y="262336"/>
                  </a:lnTo>
                  <a:lnTo>
                    <a:pt x="197938" y="242983"/>
                  </a:lnTo>
                  <a:lnTo>
                    <a:pt x="168301" y="224084"/>
                  </a:lnTo>
                  <a:lnTo>
                    <a:pt x="158419" y="210072"/>
                  </a:lnTo>
                  <a:lnTo>
                    <a:pt x="140944" y="191255"/>
                  </a:lnTo>
                  <a:lnTo>
                    <a:pt x="129481" y="173945"/>
                  </a:lnTo>
                  <a:lnTo>
                    <a:pt x="111926" y="141624"/>
                  </a:lnTo>
                  <a:lnTo>
                    <a:pt x="91654" y="122385"/>
                  </a:lnTo>
                  <a:lnTo>
                    <a:pt x="84874" y="102539"/>
                  </a:lnTo>
                  <a:lnTo>
                    <a:pt x="76364" y="84517"/>
                  </a:lnTo>
                  <a:lnTo>
                    <a:pt x="55549" y="69975"/>
                  </a:lnTo>
                  <a:lnTo>
                    <a:pt x="43485" y="50210"/>
                  </a:lnTo>
                  <a:lnTo>
                    <a:pt x="26106" y="37266"/>
                  </a:lnTo>
                  <a:lnTo>
                    <a:pt x="2027" y="11782"/>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85" name="Freeform 83">
              <a:extLst>
                <a:ext uri="{FF2B5EF4-FFF2-40B4-BE49-F238E27FC236}">
                  <a16:creationId xmlns:a16="http://schemas.microsoft.com/office/drawing/2014/main" id="{638768B7-D6E7-BE49-974B-2D31B8E9EF9B}"/>
                </a:ext>
              </a:extLst>
            </p:cNvPr>
            <p:cNvSpPr>
              <a:spLocks noChangeAspect="1"/>
            </p:cNvSpPr>
            <p:nvPr>
              <p:custDataLst>
                <p:tags r:id="rId89"/>
              </p:custDataLst>
            </p:nvPr>
          </p:nvSpPr>
          <p:spPr>
            <a:xfrm>
              <a:off x="5934386" y="3672917"/>
              <a:ext cx="674613" cy="670808"/>
            </a:xfrm>
            <a:custGeom>
              <a:avLst/>
              <a:gdLst/>
              <a:ahLst/>
              <a:cxnLst/>
              <a:rect l="0" t="0" r="0" b="0"/>
              <a:pathLst>
                <a:path w="674613" h="670808">
                  <a:moveTo>
                    <a:pt x="222997" y="0"/>
                  </a:moveTo>
                  <a:lnTo>
                    <a:pt x="247807" y="30621"/>
                  </a:lnTo>
                  <a:lnTo>
                    <a:pt x="245471" y="51779"/>
                  </a:lnTo>
                  <a:lnTo>
                    <a:pt x="254654" y="64991"/>
                  </a:lnTo>
                  <a:lnTo>
                    <a:pt x="253898" y="78126"/>
                  </a:lnTo>
                  <a:lnTo>
                    <a:pt x="237331" y="74674"/>
                  </a:lnTo>
                  <a:lnTo>
                    <a:pt x="243805" y="102899"/>
                  </a:lnTo>
                  <a:lnTo>
                    <a:pt x="266483" y="119021"/>
                  </a:lnTo>
                  <a:lnTo>
                    <a:pt x="298565" y="136748"/>
                  </a:lnTo>
                  <a:lnTo>
                    <a:pt x="283919" y="148206"/>
                  </a:lnTo>
                  <a:lnTo>
                    <a:pt x="274956" y="171735"/>
                  </a:lnTo>
                  <a:lnTo>
                    <a:pt x="297318" y="181215"/>
                  </a:lnTo>
                  <a:lnTo>
                    <a:pt x="319080" y="193476"/>
                  </a:lnTo>
                  <a:lnTo>
                    <a:pt x="349185" y="207453"/>
                  </a:lnTo>
                  <a:lnTo>
                    <a:pt x="380827" y="210676"/>
                  </a:lnTo>
                  <a:lnTo>
                    <a:pt x="394140" y="223304"/>
                  </a:lnTo>
                  <a:lnTo>
                    <a:pt x="411974" y="225664"/>
                  </a:lnTo>
                  <a:lnTo>
                    <a:pt x="439744" y="231435"/>
                  </a:lnTo>
                  <a:lnTo>
                    <a:pt x="458966" y="231021"/>
                  </a:lnTo>
                  <a:lnTo>
                    <a:pt x="461611" y="221216"/>
                  </a:lnTo>
                  <a:lnTo>
                    <a:pt x="458571" y="205430"/>
                  </a:lnTo>
                  <a:lnTo>
                    <a:pt x="460356" y="194697"/>
                  </a:lnTo>
                  <a:lnTo>
                    <a:pt x="474434" y="189447"/>
                  </a:lnTo>
                  <a:lnTo>
                    <a:pt x="476371" y="209075"/>
                  </a:lnTo>
                  <a:lnTo>
                    <a:pt x="476865" y="214054"/>
                  </a:lnTo>
                  <a:lnTo>
                    <a:pt x="497844" y="223472"/>
                  </a:lnTo>
                  <a:lnTo>
                    <a:pt x="512357" y="219596"/>
                  </a:lnTo>
                  <a:lnTo>
                    <a:pt x="531845" y="221260"/>
                  </a:lnTo>
                  <a:lnTo>
                    <a:pt x="550680" y="220524"/>
                  </a:lnTo>
                  <a:lnTo>
                    <a:pt x="552301" y="205261"/>
                  </a:lnTo>
                  <a:lnTo>
                    <a:pt x="542905" y="197311"/>
                  </a:lnTo>
                  <a:lnTo>
                    <a:pt x="561520" y="194190"/>
                  </a:lnTo>
                  <a:lnTo>
                    <a:pt x="582530" y="175592"/>
                  </a:lnTo>
                  <a:lnTo>
                    <a:pt x="609136" y="159603"/>
                  </a:lnTo>
                  <a:lnTo>
                    <a:pt x="628499" y="165780"/>
                  </a:lnTo>
                  <a:lnTo>
                    <a:pt x="644953" y="155190"/>
                  </a:lnTo>
                  <a:lnTo>
                    <a:pt x="655778" y="170819"/>
                  </a:lnTo>
                  <a:lnTo>
                    <a:pt x="647981" y="181342"/>
                  </a:lnTo>
                  <a:lnTo>
                    <a:pt x="672870" y="185080"/>
                  </a:lnTo>
                  <a:lnTo>
                    <a:pt x="674612" y="194548"/>
                  </a:lnTo>
                  <a:lnTo>
                    <a:pt x="666520" y="199123"/>
                  </a:lnTo>
                  <a:lnTo>
                    <a:pt x="668413" y="214431"/>
                  </a:lnTo>
                  <a:lnTo>
                    <a:pt x="651917" y="209938"/>
                  </a:lnTo>
                  <a:lnTo>
                    <a:pt x="622035" y="227086"/>
                  </a:lnTo>
                  <a:lnTo>
                    <a:pt x="622736" y="241238"/>
                  </a:lnTo>
                  <a:lnTo>
                    <a:pt x="609997" y="261904"/>
                  </a:lnTo>
                  <a:lnTo>
                    <a:pt x="608829" y="273868"/>
                  </a:lnTo>
                  <a:lnTo>
                    <a:pt x="598536" y="294047"/>
                  </a:lnTo>
                  <a:lnTo>
                    <a:pt x="580495" y="288480"/>
                  </a:lnTo>
                  <a:lnTo>
                    <a:pt x="579599" y="313722"/>
                  </a:lnTo>
                  <a:lnTo>
                    <a:pt x="574381" y="322001"/>
                  </a:lnTo>
                  <a:lnTo>
                    <a:pt x="576824" y="332308"/>
                  </a:lnTo>
                  <a:lnTo>
                    <a:pt x="565435" y="338056"/>
                  </a:lnTo>
                  <a:lnTo>
                    <a:pt x="553278" y="299497"/>
                  </a:lnTo>
                  <a:lnTo>
                    <a:pt x="546904" y="299574"/>
                  </a:lnTo>
                  <a:lnTo>
                    <a:pt x="543131" y="315143"/>
                  </a:lnTo>
                  <a:lnTo>
                    <a:pt x="530493" y="302521"/>
                  </a:lnTo>
                  <a:lnTo>
                    <a:pt x="537621" y="288625"/>
                  </a:lnTo>
                  <a:lnTo>
                    <a:pt x="547947" y="287212"/>
                  </a:lnTo>
                  <a:lnTo>
                    <a:pt x="558590" y="266470"/>
                  </a:lnTo>
                  <a:lnTo>
                    <a:pt x="545281" y="262275"/>
                  </a:lnTo>
                  <a:lnTo>
                    <a:pt x="523874" y="262639"/>
                  </a:lnTo>
                  <a:lnTo>
                    <a:pt x="501911" y="259267"/>
                  </a:lnTo>
                  <a:lnTo>
                    <a:pt x="499874" y="242132"/>
                  </a:lnTo>
                  <a:lnTo>
                    <a:pt x="488855" y="240914"/>
                  </a:lnTo>
                  <a:lnTo>
                    <a:pt x="470573" y="230231"/>
                  </a:lnTo>
                  <a:lnTo>
                    <a:pt x="462418" y="246993"/>
                  </a:lnTo>
                  <a:lnTo>
                    <a:pt x="479079" y="260031"/>
                  </a:lnTo>
                  <a:lnTo>
                    <a:pt x="464648" y="269186"/>
                  </a:lnTo>
                  <a:lnTo>
                    <a:pt x="459524" y="278124"/>
                  </a:lnTo>
                  <a:lnTo>
                    <a:pt x="473733" y="284684"/>
                  </a:lnTo>
                  <a:lnTo>
                    <a:pt x="469804" y="299408"/>
                  </a:lnTo>
                  <a:lnTo>
                    <a:pt x="477804" y="317723"/>
                  </a:lnTo>
                  <a:lnTo>
                    <a:pt x="481396" y="337706"/>
                  </a:lnTo>
                  <a:lnTo>
                    <a:pt x="478091" y="346543"/>
                  </a:lnTo>
                  <a:lnTo>
                    <a:pt x="462389" y="346238"/>
                  </a:lnTo>
                  <a:lnTo>
                    <a:pt x="433933" y="351257"/>
                  </a:lnTo>
                  <a:lnTo>
                    <a:pt x="435259" y="369404"/>
                  </a:lnTo>
                  <a:lnTo>
                    <a:pt x="422937" y="383638"/>
                  </a:lnTo>
                  <a:lnTo>
                    <a:pt x="389719" y="399788"/>
                  </a:lnTo>
                  <a:lnTo>
                    <a:pt x="363883" y="427920"/>
                  </a:lnTo>
                  <a:lnTo>
                    <a:pt x="346530" y="442952"/>
                  </a:lnTo>
                  <a:lnTo>
                    <a:pt x="323530" y="458515"/>
                  </a:lnTo>
                  <a:lnTo>
                    <a:pt x="323494" y="469431"/>
                  </a:lnTo>
                  <a:lnTo>
                    <a:pt x="311987" y="475273"/>
                  </a:lnTo>
                  <a:lnTo>
                    <a:pt x="291196" y="483757"/>
                  </a:lnTo>
                  <a:lnTo>
                    <a:pt x="280414" y="485006"/>
                  </a:lnTo>
                  <a:lnTo>
                    <a:pt x="273493" y="503034"/>
                  </a:lnTo>
                  <a:lnTo>
                    <a:pt x="278299" y="533682"/>
                  </a:lnTo>
                  <a:lnTo>
                    <a:pt x="279523" y="553170"/>
                  </a:lnTo>
                  <a:lnTo>
                    <a:pt x="269742" y="575440"/>
                  </a:lnTo>
                  <a:lnTo>
                    <a:pt x="269637" y="615142"/>
                  </a:lnTo>
                  <a:lnTo>
                    <a:pt x="257692" y="616272"/>
                  </a:lnTo>
                  <a:lnTo>
                    <a:pt x="247185" y="634048"/>
                  </a:lnTo>
                  <a:lnTo>
                    <a:pt x="254211" y="641722"/>
                  </a:lnTo>
                  <a:lnTo>
                    <a:pt x="233165" y="648318"/>
                  </a:lnTo>
                  <a:lnTo>
                    <a:pt x="225391" y="664130"/>
                  </a:lnTo>
                  <a:lnTo>
                    <a:pt x="216129" y="670807"/>
                  </a:lnTo>
                  <a:lnTo>
                    <a:pt x="194271" y="649104"/>
                  </a:lnTo>
                  <a:lnTo>
                    <a:pt x="183586" y="616487"/>
                  </a:lnTo>
                  <a:lnTo>
                    <a:pt x="174732" y="592937"/>
                  </a:lnTo>
                  <a:lnTo>
                    <a:pt x="166644" y="581876"/>
                  </a:lnTo>
                  <a:lnTo>
                    <a:pt x="154381" y="559372"/>
                  </a:lnTo>
                  <a:lnTo>
                    <a:pt x="148654" y="529993"/>
                  </a:lnTo>
                  <a:lnTo>
                    <a:pt x="144664" y="515282"/>
                  </a:lnTo>
                  <a:lnTo>
                    <a:pt x="123667" y="482841"/>
                  </a:lnTo>
                  <a:lnTo>
                    <a:pt x="114104" y="436823"/>
                  </a:lnTo>
                  <a:lnTo>
                    <a:pt x="107202" y="406263"/>
                  </a:lnTo>
                  <a:lnTo>
                    <a:pt x="107284" y="377198"/>
                  </a:lnTo>
                  <a:lnTo>
                    <a:pt x="102808" y="354628"/>
                  </a:lnTo>
                  <a:lnTo>
                    <a:pt x="69216" y="369064"/>
                  </a:lnTo>
                  <a:lnTo>
                    <a:pt x="52947" y="366175"/>
                  </a:lnTo>
                  <a:lnTo>
                    <a:pt x="22794" y="336892"/>
                  </a:lnTo>
                  <a:lnTo>
                    <a:pt x="33892" y="328128"/>
                  </a:lnTo>
                  <a:lnTo>
                    <a:pt x="27075" y="318598"/>
                  </a:lnTo>
                  <a:lnTo>
                    <a:pt x="0" y="297924"/>
                  </a:lnTo>
                  <a:lnTo>
                    <a:pt x="15372" y="281614"/>
                  </a:lnTo>
                  <a:lnTo>
                    <a:pt x="66169" y="281678"/>
                  </a:lnTo>
                  <a:lnTo>
                    <a:pt x="61586" y="260611"/>
                  </a:lnTo>
                  <a:lnTo>
                    <a:pt x="48617" y="248124"/>
                  </a:lnTo>
                  <a:lnTo>
                    <a:pt x="45987" y="229109"/>
                  </a:lnTo>
                  <a:lnTo>
                    <a:pt x="30879" y="217977"/>
                  </a:lnTo>
                  <a:lnTo>
                    <a:pt x="56318" y="191885"/>
                  </a:lnTo>
                  <a:lnTo>
                    <a:pt x="83121" y="193783"/>
                  </a:lnTo>
                  <a:lnTo>
                    <a:pt x="107267" y="167541"/>
                  </a:lnTo>
                  <a:lnTo>
                    <a:pt x="121738" y="141983"/>
                  </a:lnTo>
                  <a:lnTo>
                    <a:pt x="144145" y="116553"/>
                  </a:lnTo>
                  <a:lnTo>
                    <a:pt x="143788" y="98388"/>
                  </a:lnTo>
                  <a:lnTo>
                    <a:pt x="163471" y="83584"/>
                  </a:lnTo>
                  <a:lnTo>
                    <a:pt x="144842" y="70901"/>
                  </a:lnTo>
                  <a:lnTo>
                    <a:pt x="136826" y="53452"/>
                  </a:lnTo>
                  <a:lnTo>
                    <a:pt x="128647" y="30731"/>
                  </a:lnTo>
                  <a:lnTo>
                    <a:pt x="139963" y="19498"/>
                  </a:lnTo>
                  <a:lnTo>
                    <a:pt x="174976" y="25858"/>
                  </a:lnTo>
                  <a:lnTo>
                    <a:pt x="200705" y="2198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86" name="Freeform 84">
              <a:extLst>
                <a:ext uri="{FF2B5EF4-FFF2-40B4-BE49-F238E27FC236}">
                  <a16:creationId xmlns:a16="http://schemas.microsoft.com/office/drawing/2014/main" id="{638AB283-AD6D-5B41-A5FA-163F76A41904}"/>
                </a:ext>
              </a:extLst>
            </p:cNvPr>
            <p:cNvSpPr>
              <a:spLocks noChangeAspect="1"/>
            </p:cNvSpPr>
            <p:nvPr>
              <p:custDataLst>
                <p:tags r:id="rId90"/>
              </p:custDataLst>
            </p:nvPr>
          </p:nvSpPr>
          <p:spPr>
            <a:xfrm>
              <a:off x="4130389" y="3107133"/>
              <a:ext cx="91041" cy="108813"/>
            </a:xfrm>
            <a:custGeom>
              <a:avLst/>
              <a:gdLst/>
              <a:ahLst/>
              <a:cxnLst/>
              <a:rect l="0" t="0" r="0" b="0"/>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87" name="Freeform 85">
              <a:extLst>
                <a:ext uri="{FF2B5EF4-FFF2-40B4-BE49-F238E27FC236}">
                  <a16:creationId xmlns:a16="http://schemas.microsoft.com/office/drawing/2014/main" id="{56CFBD37-6ACD-D145-B1CB-6F30AB54CFAA}"/>
                </a:ext>
              </a:extLst>
            </p:cNvPr>
            <p:cNvSpPr>
              <a:spLocks noChangeAspect="1"/>
            </p:cNvSpPr>
            <p:nvPr>
              <p:custDataLst>
                <p:tags r:id="rId91"/>
              </p:custDataLst>
            </p:nvPr>
          </p:nvSpPr>
          <p:spPr>
            <a:xfrm>
              <a:off x="5378845" y="3560345"/>
              <a:ext cx="443360" cy="376548"/>
            </a:xfrm>
            <a:custGeom>
              <a:avLst/>
              <a:gdLst/>
              <a:ahLst/>
              <a:cxnLst/>
              <a:rect l="0" t="0" r="0" b="0"/>
              <a:pathLst>
                <a:path w="443360" h="376548">
                  <a:moveTo>
                    <a:pt x="226496" y="67542"/>
                  </a:moveTo>
                  <a:lnTo>
                    <a:pt x="246779" y="62392"/>
                  </a:lnTo>
                  <a:lnTo>
                    <a:pt x="263197" y="47133"/>
                  </a:lnTo>
                  <a:lnTo>
                    <a:pt x="278635" y="47908"/>
                  </a:lnTo>
                  <a:lnTo>
                    <a:pt x="288768" y="42922"/>
                  </a:lnTo>
                  <a:lnTo>
                    <a:pt x="305181" y="45390"/>
                  </a:lnTo>
                  <a:lnTo>
                    <a:pt x="330704" y="58932"/>
                  </a:lnTo>
                  <a:lnTo>
                    <a:pt x="349138" y="61845"/>
                  </a:lnTo>
                  <a:lnTo>
                    <a:pt x="375519" y="85350"/>
                  </a:lnTo>
                  <a:lnTo>
                    <a:pt x="392726" y="86296"/>
                  </a:lnTo>
                  <a:lnTo>
                    <a:pt x="394751" y="108475"/>
                  </a:lnTo>
                  <a:lnTo>
                    <a:pt x="385342" y="141055"/>
                  </a:lnTo>
                  <a:lnTo>
                    <a:pt x="379000" y="159945"/>
                  </a:lnTo>
                  <a:lnTo>
                    <a:pt x="389047" y="163766"/>
                  </a:lnTo>
                  <a:lnTo>
                    <a:pt x="379176" y="177902"/>
                  </a:lnTo>
                  <a:lnTo>
                    <a:pt x="386738" y="198416"/>
                  </a:lnTo>
                  <a:lnTo>
                    <a:pt x="388545" y="214651"/>
                  </a:lnTo>
                  <a:lnTo>
                    <a:pt x="406027" y="218950"/>
                  </a:lnTo>
                  <a:lnTo>
                    <a:pt x="407918" y="235323"/>
                  </a:lnTo>
                  <a:lnTo>
                    <a:pt x="386982" y="258271"/>
                  </a:lnTo>
                  <a:lnTo>
                    <a:pt x="398409" y="271525"/>
                  </a:lnTo>
                  <a:lnTo>
                    <a:pt x="407701" y="286693"/>
                  </a:lnTo>
                  <a:lnTo>
                    <a:pt x="429768" y="297701"/>
                  </a:lnTo>
                  <a:lnTo>
                    <a:pt x="430405" y="319667"/>
                  </a:lnTo>
                  <a:lnTo>
                    <a:pt x="441449" y="323692"/>
                  </a:lnTo>
                  <a:lnTo>
                    <a:pt x="443359" y="335124"/>
                  </a:lnTo>
                  <a:lnTo>
                    <a:pt x="410063" y="347913"/>
                  </a:lnTo>
                  <a:lnTo>
                    <a:pt x="401365" y="376547"/>
                  </a:lnTo>
                  <a:lnTo>
                    <a:pt x="357941" y="369122"/>
                  </a:lnTo>
                  <a:lnTo>
                    <a:pt x="332773" y="363463"/>
                  </a:lnTo>
                  <a:lnTo>
                    <a:pt x="306723" y="360260"/>
                  </a:lnTo>
                  <a:lnTo>
                    <a:pt x="296879" y="329925"/>
                  </a:lnTo>
                  <a:lnTo>
                    <a:pt x="285831" y="325524"/>
                  </a:lnTo>
                  <a:lnTo>
                    <a:pt x="268094" y="329961"/>
                  </a:lnTo>
                  <a:lnTo>
                    <a:pt x="244812" y="341959"/>
                  </a:lnTo>
                  <a:lnTo>
                    <a:pt x="216605" y="333739"/>
                  </a:lnTo>
                  <a:lnTo>
                    <a:pt x="193303" y="314640"/>
                  </a:lnTo>
                  <a:lnTo>
                    <a:pt x="171079" y="307540"/>
                  </a:lnTo>
                  <a:lnTo>
                    <a:pt x="155664" y="283804"/>
                  </a:lnTo>
                  <a:lnTo>
                    <a:pt x="138630" y="250223"/>
                  </a:lnTo>
                  <a:lnTo>
                    <a:pt x="126208" y="254319"/>
                  </a:lnTo>
                  <a:lnTo>
                    <a:pt x="111538" y="245939"/>
                  </a:lnTo>
                  <a:lnTo>
                    <a:pt x="102920" y="255809"/>
                  </a:lnTo>
                  <a:lnTo>
                    <a:pt x="90146" y="242510"/>
                  </a:lnTo>
                  <a:lnTo>
                    <a:pt x="89918" y="228990"/>
                  </a:lnTo>
                  <a:lnTo>
                    <a:pt x="82546" y="228997"/>
                  </a:lnTo>
                  <a:lnTo>
                    <a:pt x="86329" y="210538"/>
                  </a:lnTo>
                  <a:lnTo>
                    <a:pt x="74452" y="191074"/>
                  </a:lnTo>
                  <a:lnTo>
                    <a:pt x="46169" y="176973"/>
                  </a:lnTo>
                  <a:lnTo>
                    <a:pt x="30180" y="152394"/>
                  </a:lnTo>
                  <a:lnTo>
                    <a:pt x="35530" y="132089"/>
                  </a:lnTo>
                  <a:lnTo>
                    <a:pt x="47148" y="123072"/>
                  </a:lnTo>
                  <a:lnTo>
                    <a:pt x="45407" y="107757"/>
                  </a:lnTo>
                  <a:lnTo>
                    <a:pt x="30271" y="99861"/>
                  </a:lnTo>
                  <a:lnTo>
                    <a:pt x="15315" y="68299"/>
                  </a:lnTo>
                  <a:lnTo>
                    <a:pt x="2690" y="46933"/>
                  </a:lnTo>
                  <a:lnTo>
                    <a:pt x="7206" y="38636"/>
                  </a:lnTo>
                  <a:lnTo>
                    <a:pt x="0" y="7725"/>
                  </a:lnTo>
                  <a:lnTo>
                    <a:pt x="15807" y="0"/>
                  </a:lnTo>
                  <a:lnTo>
                    <a:pt x="19470" y="10225"/>
                  </a:lnTo>
                  <a:lnTo>
                    <a:pt x="31127" y="22694"/>
                  </a:lnTo>
                  <a:lnTo>
                    <a:pt x="46960" y="26276"/>
                  </a:lnTo>
                  <a:lnTo>
                    <a:pt x="55318" y="25484"/>
                  </a:lnTo>
                  <a:lnTo>
                    <a:pt x="82541" y="5551"/>
                  </a:lnTo>
                  <a:lnTo>
                    <a:pt x="91197" y="3548"/>
                  </a:lnTo>
                  <a:lnTo>
                    <a:pt x="98016" y="11497"/>
                  </a:lnTo>
                  <a:lnTo>
                    <a:pt x="90058" y="24853"/>
                  </a:lnTo>
                  <a:lnTo>
                    <a:pt x="104453" y="38929"/>
                  </a:lnTo>
                  <a:lnTo>
                    <a:pt x="110197" y="37591"/>
                  </a:lnTo>
                  <a:lnTo>
                    <a:pt x="117500" y="57317"/>
                  </a:lnTo>
                  <a:lnTo>
                    <a:pt x="139386" y="62868"/>
                  </a:lnTo>
                  <a:lnTo>
                    <a:pt x="155419" y="76201"/>
                  </a:lnTo>
                  <a:lnTo>
                    <a:pt x="188235" y="80770"/>
                  </a:lnTo>
                  <a:lnTo>
                    <a:pt x="224285" y="7375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88" name="Freeform 86">
              <a:extLst>
                <a:ext uri="{FF2B5EF4-FFF2-40B4-BE49-F238E27FC236}">
                  <a16:creationId xmlns:a16="http://schemas.microsoft.com/office/drawing/2014/main" id="{E8E06A35-05E8-A149-B402-CE437A0E2F16}"/>
                </a:ext>
              </a:extLst>
            </p:cNvPr>
            <p:cNvSpPr>
              <a:spLocks noChangeAspect="1"/>
            </p:cNvSpPr>
            <p:nvPr>
              <p:custDataLst>
                <p:tags r:id="rId92"/>
              </p:custDataLst>
            </p:nvPr>
          </p:nvSpPr>
          <p:spPr>
            <a:xfrm>
              <a:off x="5256118" y="3622928"/>
              <a:ext cx="225648" cy="214079"/>
            </a:xfrm>
            <a:custGeom>
              <a:avLst/>
              <a:gdLst/>
              <a:ahLst/>
              <a:cxnLst/>
              <a:rect l="0" t="0" r="0" b="0"/>
              <a:pathLst>
                <a:path w="225648" h="214079">
                  <a:moveTo>
                    <a:pt x="152998" y="37278"/>
                  </a:moveTo>
                  <a:lnTo>
                    <a:pt x="168134" y="45174"/>
                  </a:lnTo>
                  <a:lnTo>
                    <a:pt x="169875" y="60489"/>
                  </a:lnTo>
                  <a:lnTo>
                    <a:pt x="158257" y="69506"/>
                  </a:lnTo>
                  <a:lnTo>
                    <a:pt x="152907" y="89811"/>
                  </a:lnTo>
                  <a:lnTo>
                    <a:pt x="168896" y="114390"/>
                  </a:lnTo>
                  <a:lnTo>
                    <a:pt x="197179" y="128491"/>
                  </a:lnTo>
                  <a:lnTo>
                    <a:pt x="209056" y="147955"/>
                  </a:lnTo>
                  <a:lnTo>
                    <a:pt x="205273" y="166414"/>
                  </a:lnTo>
                  <a:lnTo>
                    <a:pt x="212645" y="166407"/>
                  </a:lnTo>
                  <a:lnTo>
                    <a:pt x="212873" y="179927"/>
                  </a:lnTo>
                  <a:lnTo>
                    <a:pt x="225647" y="193226"/>
                  </a:lnTo>
                  <a:lnTo>
                    <a:pt x="211949" y="191987"/>
                  </a:lnTo>
                  <a:lnTo>
                    <a:pt x="196439" y="189883"/>
                  </a:lnTo>
                  <a:lnTo>
                    <a:pt x="179499" y="214078"/>
                  </a:lnTo>
                  <a:lnTo>
                    <a:pt x="136583" y="212070"/>
                  </a:lnTo>
                  <a:lnTo>
                    <a:pt x="71501" y="161195"/>
                  </a:lnTo>
                  <a:lnTo>
                    <a:pt x="37109" y="143333"/>
                  </a:lnTo>
                  <a:lnTo>
                    <a:pt x="9305" y="136395"/>
                  </a:lnTo>
                  <a:lnTo>
                    <a:pt x="0" y="105064"/>
                  </a:lnTo>
                  <a:lnTo>
                    <a:pt x="51100" y="78075"/>
                  </a:lnTo>
                  <a:lnTo>
                    <a:pt x="59821" y="46464"/>
                  </a:lnTo>
                  <a:lnTo>
                    <a:pt x="57645" y="27222"/>
                  </a:lnTo>
                  <a:lnTo>
                    <a:pt x="70280" y="20691"/>
                  </a:lnTo>
                  <a:lnTo>
                    <a:pt x="82110" y="4135"/>
                  </a:lnTo>
                  <a:lnTo>
                    <a:pt x="92025" y="0"/>
                  </a:lnTo>
                  <a:lnTo>
                    <a:pt x="118873" y="3434"/>
                  </a:lnTo>
                  <a:lnTo>
                    <a:pt x="126980" y="10203"/>
                  </a:lnTo>
                  <a:lnTo>
                    <a:pt x="138042" y="571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89" name="Freeform 87">
              <a:extLst>
                <a:ext uri="{FF2B5EF4-FFF2-40B4-BE49-F238E27FC236}">
                  <a16:creationId xmlns:a16="http://schemas.microsoft.com/office/drawing/2014/main" id="{2A68FD96-9FC0-CA41-BE23-08F1D0033D78}"/>
                </a:ext>
              </a:extLst>
            </p:cNvPr>
            <p:cNvSpPr>
              <a:spLocks noChangeAspect="1"/>
            </p:cNvSpPr>
            <p:nvPr>
              <p:custDataLst>
                <p:tags r:id="rId93"/>
              </p:custDataLst>
            </p:nvPr>
          </p:nvSpPr>
          <p:spPr>
            <a:xfrm>
              <a:off x="3799173" y="2707375"/>
              <a:ext cx="247366" cy="113679"/>
            </a:xfrm>
            <a:custGeom>
              <a:avLst/>
              <a:gdLst/>
              <a:ahLst/>
              <a:cxnLst/>
              <a:rect l="0" t="0" r="0" b="0"/>
              <a:pathLst>
                <a:path w="247366" h="113679">
                  <a:moveTo>
                    <a:pt x="226614" y="2732"/>
                  </a:moveTo>
                  <a:lnTo>
                    <a:pt x="221283" y="27500"/>
                  </a:lnTo>
                  <a:lnTo>
                    <a:pt x="247365" y="53289"/>
                  </a:lnTo>
                  <a:lnTo>
                    <a:pt x="217355" y="81752"/>
                  </a:lnTo>
                  <a:lnTo>
                    <a:pt x="150770" y="107008"/>
                  </a:lnTo>
                  <a:lnTo>
                    <a:pt x="130877" y="113678"/>
                  </a:lnTo>
                  <a:lnTo>
                    <a:pt x="100489" y="108294"/>
                  </a:lnTo>
                  <a:lnTo>
                    <a:pt x="36083" y="96673"/>
                  </a:lnTo>
                  <a:lnTo>
                    <a:pt x="58808" y="80341"/>
                  </a:lnTo>
                  <a:lnTo>
                    <a:pt x="8567" y="62122"/>
                  </a:lnTo>
                  <a:lnTo>
                    <a:pt x="49438" y="54856"/>
                  </a:lnTo>
                  <a:lnTo>
                    <a:pt x="48445" y="43801"/>
                  </a:lnTo>
                  <a:lnTo>
                    <a:pt x="0" y="35002"/>
                  </a:lnTo>
                  <a:lnTo>
                    <a:pt x="15596" y="10164"/>
                  </a:lnTo>
                  <a:lnTo>
                    <a:pt x="50580" y="4480"/>
                  </a:lnTo>
                  <a:lnTo>
                    <a:pt x="86558" y="30414"/>
                  </a:lnTo>
                  <a:lnTo>
                    <a:pt x="121631" y="9624"/>
                  </a:lnTo>
                  <a:lnTo>
                    <a:pt x="150674" y="20446"/>
                  </a:lnTo>
                  <a:lnTo>
                    <a:pt x="188317" y="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90" name="Freeform 88">
              <a:extLst>
                <a:ext uri="{FF2B5EF4-FFF2-40B4-BE49-F238E27FC236}">
                  <a16:creationId xmlns:a16="http://schemas.microsoft.com/office/drawing/2014/main" id="{EC1D2FC3-3E67-0E4A-A6F0-CCEAD25E79B5}"/>
                </a:ext>
              </a:extLst>
            </p:cNvPr>
            <p:cNvSpPr>
              <a:spLocks noChangeAspect="1"/>
            </p:cNvSpPr>
            <p:nvPr>
              <p:custDataLst>
                <p:tags r:id="rId94"/>
              </p:custDataLst>
            </p:nvPr>
          </p:nvSpPr>
          <p:spPr>
            <a:xfrm>
              <a:off x="5151624" y="3730608"/>
              <a:ext cx="36263" cy="96277"/>
            </a:xfrm>
            <a:custGeom>
              <a:avLst/>
              <a:gdLst/>
              <a:ahLst/>
              <a:cxnLst/>
              <a:rect l="0" t="0" r="0" b="0"/>
              <a:pathLst>
                <a:path w="36263" h="96277">
                  <a:moveTo>
                    <a:pt x="35909" y="0"/>
                  </a:moveTo>
                  <a:lnTo>
                    <a:pt x="36262" y="10553"/>
                  </a:lnTo>
                  <a:lnTo>
                    <a:pt x="33132" y="14467"/>
                  </a:lnTo>
                  <a:lnTo>
                    <a:pt x="33574" y="14642"/>
                  </a:lnTo>
                  <a:lnTo>
                    <a:pt x="29552" y="22740"/>
                  </a:lnTo>
                  <a:lnTo>
                    <a:pt x="29542" y="38401"/>
                  </a:lnTo>
                  <a:lnTo>
                    <a:pt x="26133" y="45893"/>
                  </a:lnTo>
                  <a:lnTo>
                    <a:pt x="26672" y="55804"/>
                  </a:lnTo>
                  <a:lnTo>
                    <a:pt x="15170" y="96276"/>
                  </a:lnTo>
                  <a:lnTo>
                    <a:pt x="0" y="52767"/>
                  </a:lnTo>
                  <a:lnTo>
                    <a:pt x="6716" y="44369"/>
                  </a:lnTo>
                  <a:lnTo>
                    <a:pt x="5140" y="42921"/>
                  </a:lnTo>
                  <a:lnTo>
                    <a:pt x="11245" y="30971"/>
                  </a:lnTo>
                  <a:lnTo>
                    <a:pt x="15927" y="11602"/>
                  </a:lnTo>
                  <a:lnTo>
                    <a:pt x="19229" y="5080"/>
                  </a:lnTo>
                  <a:lnTo>
                    <a:pt x="19866" y="4812"/>
                  </a:lnTo>
                  <a:lnTo>
                    <a:pt x="27590" y="4861"/>
                  </a:lnTo>
                  <a:lnTo>
                    <a:pt x="29716" y="339"/>
                  </a:lnTo>
                  <a:close/>
                </a:path>
              </a:pathLst>
            </a:custGeom>
            <a:solidFill>
              <a:schemeClr val="tx2"/>
            </a:solid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91" name="Freeform 89">
              <a:extLst>
                <a:ext uri="{FF2B5EF4-FFF2-40B4-BE49-F238E27FC236}">
                  <a16:creationId xmlns:a16="http://schemas.microsoft.com/office/drawing/2014/main" id="{B36D7317-24D3-E941-BE29-31585F3F15B7}"/>
                </a:ext>
              </a:extLst>
            </p:cNvPr>
            <p:cNvSpPr>
              <a:spLocks noChangeAspect="1"/>
            </p:cNvSpPr>
            <p:nvPr>
              <p:custDataLst>
                <p:tags r:id="rId95"/>
              </p:custDataLst>
            </p:nvPr>
          </p:nvSpPr>
          <p:spPr>
            <a:xfrm>
              <a:off x="4516493" y="3352254"/>
              <a:ext cx="270767" cy="290991"/>
            </a:xfrm>
            <a:custGeom>
              <a:avLst/>
              <a:gdLst/>
              <a:ahLst/>
              <a:cxnLst/>
              <a:rect l="l" t="t" r="r" b="b"/>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92" name="Freeform 90">
              <a:extLst>
                <a:ext uri="{FF2B5EF4-FFF2-40B4-BE49-F238E27FC236}">
                  <a16:creationId xmlns:a16="http://schemas.microsoft.com/office/drawing/2014/main" id="{FD8A44B9-0D39-8D48-8F82-419E7564E17C}"/>
                </a:ext>
              </a:extLst>
            </p:cNvPr>
            <p:cNvSpPr>
              <a:spLocks noChangeAspect="1"/>
            </p:cNvSpPr>
            <p:nvPr>
              <p:custDataLst>
                <p:tags r:id="rId96"/>
              </p:custDataLst>
            </p:nvPr>
          </p:nvSpPr>
          <p:spPr>
            <a:xfrm>
              <a:off x="5166794" y="3727992"/>
              <a:ext cx="98630" cy="106540"/>
            </a:xfrm>
            <a:custGeom>
              <a:avLst/>
              <a:gdLst/>
              <a:ahLst/>
              <a:cxnLst/>
              <a:rect l="0" t="0" r="0" b="0"/>
              <a:pathLst>
                <a:path w="98630" h="106540">
                  <a:moveTo>
                    <a:pt x="14382" y="25356"/>
                  </a:moveTo>
                  <a:lnTo>
                    <a:pt x="18404" y="17258"/>
                  </a:lnTo>
                  <a:lnTo>
                    <a:pt x="44121" y="27436"/>
                  </a:lnTo>
                  <a:lnTo>
                    <a:pt x="89324" y="0"/>
                  </a:lnTo>
                  <a:lnTo>
                    <a:pt x="98629" y="31331"/>
                  </a:lnTo>
                  <a:lnTo>
                    <a:pt x="94230" y="35193"/>
                  </a:lnTo>
                  <a:lnTo>
                    <a:pt x="48002" y="48016"/>
                  </a:lnTo>
                  <a:lnTo>
                    <a:pt x="71008" y="73443"/>
                  </a:lnTo>
                  <a:lnTo>
                    <a:pt x="63374" y="77745"/>
                  </a:lnTo>
                  <a:lnTo>
                    <a:pt x="59575" y="86216"/>
                  </a:lnTo>
                  <a:lnTo>
                    <a:pt x="41962" y="89714"/>
                  </a:lnTo>
                  <a:lnTo>
                    <a:pt x="36438" y="98793"/>
                  </a:lnTo>
                  <a:lnTo>
                    <a:pt x="26460" y="106539"/>
                  </a:lnTo>
                  <a:lnTo>
                    <a:pt x="771" y="102537"/>
                  </a:lnTo>
                  <a:lnTo>
                    <a:pt x="0" y="98892"/>
                  </a:lnTo>
                  <a:lnTo>
                    <a:pt x="11502" y="58420"/>
                  </a:lnTo>
                  <a:lnTo>
                    <a:pt x="10963" y="48509"/>
                  </a:lnTo>
                  <a:lnTo>
                    <a:pt x="14372" y="4101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93" name="Freeform 91">
              <a:extLst>
                <a:ext uri="{FF2B5EF4-FFF2-40B4-BE49-F238E27FC236}">
                  <a16:creationId xmlns:a16="http://schemas.microsoft.com/office/drawing/2014/main" id="{3C9395AB-AC0B-E44F-8750-A1C31EB30533}"/>
                </a:ext>
              </a:extLst>
            </p:cNvPr>
            <p:cNvSpPr>
              <a:spLocks noChangeAspect="1"/>
            </p:cNvSpPr>
            <p:nvPr>
              <p:custDataLst>
                <p:tags r:id="rId97"/>
              </p:custDataLst>
            </p:nvPr>
          </p:nvSpPr>
          <p:spPr>
            <a:xfrm>
              <a:off x="7347779" y="3397496"/>
              <a:ext cx="372432" cy="390709"/>
            </a:xfrm>
            <a:custGeom>
              <a:avLst/>
              <a:gdLst/>
              <a:ahLst/>
              <a:cxnLst/>
              <a:rect l="l" t="t" r="r" b="b"/>
              <a:pathLst>
                <a:path w="372432" h="390709">
                  <a:moveTo>
                    <a:pt x="103771" y="304924"/>
                  </a:moveTo>
                  <a:lnTo>
                    <a:pt x="120721" y="310532"/>
                  </a:lnTo>
                  <a:lnTo>
                    <a:pt x="123675" y="319430"/>
                  </a:lnTo>
                  <a:lnTo>
                    <a:pt x="110680" y="335080"/>
                  </a:lnTo>
                  <a:lnTo>
                    <a:pt x="101206" y="326792"/>
                  </a:lnTo>
                  <a:lnTo>
                    <a:pt x="89371" y="332798"/>
                  </a:lnTo>
                  <a:lnTo>
                    <a:pt x="83245" y="347873"/>
                  </a:lnTo>
                  <a:lnTo>
                    <a:pt x="68201" y="340541"/>
                  </a:lnTo>
                  <a:lnTo>
                    <a:pt x="68387" y="328300"/>
                  </a:lnTo>
                  <a:lnTo>
                    <a:pt x="81156" y="312842"/>
                  </a:lnTo>
                  <a:lnTo>
                    <a:pt x="94281" y="315844"/>
                  </a:lnTo>
                  <a:close/>
                  <a:moveTo>
                    <a:pt x="276081" y="117295"/>
                  </a:moveTo>
                  <a:lnTo>
                    <a:pt x="288667" y="155275"/>
                  </a:lnTo>
                  <a:lnTo>
                    <a:pt x="287983" y="177264"/>
                  </a:lnTo>
                  <a:lnTo>
                    <a:pt x="266629" y="204362"/>
                  </a:lnTo>
                  <a:lnTo>
                    <a:pt x="267019" y="231902"/>
                  </a:lnTo>
                  <a:lnTo>
                    <a:pt x="258325" y="253046"/>
                  </a:lnTo>
                  <a:lnTo>
                    <a:pt x="262349" y="266255"/>
                  </a:lnTo>
                  <a:lnTo>
                    <a:pt x="250328" y="284747"/>
                  </a:lnTo>
                  <a:lnTo>
                    <a:pt x="220833" y="297039"/>
                  </a:lnTo>
                  <a:lnTo>
                    <a:pt x="180256" y="298638"/>
                  </a:lnTo>
                  <a:lnTo>
                    <a:pt x="147372" y="328270"/>
                  </a:lnTo>
                  <a:lnTo>
                    <a:pt x="131860" y="318322"/>
                  </a:lnTo>
                  <a:lnTo>
                    <a:pt x="130901" y="298892"/>
                  </a:lnTo>
                  <a:lnTo>
                    <a:pt x="90758" y="304637"/>
                  </a:lnTo>
                  <a:lnTo>
                    <a:pt x="63438" y="316873"/>
                  </a:lnTo>
                  <a:lnTo>
                    <a:pt x="36417" y="317371"/>
                  </a:lnTo>
                  <a:lnTo>
                    <a:pt x="59821" y="336401"/>
                  </a:lnTo>
                  <a:lnTo>
                    <a:pt x="44418" y="379993"/>
                  </a:lnTo>
                  <a:lnTo>
                    <a:pt x="29497" y="390709"/>
                  </a:lnTo>
                  <a:lnTo>
                    <a:pt x="18327" y="380812"/>
                  </a:lnTo>
                  <a:lnTo>
                    <a:pt x="23988" y="357764"/>
                  </a:lnTo>
                  <a:lnTo>
                    <a:pt x="9377" y="350297"/>
                  </a:lnTo>
                  <a:lnTo>
                    <a:pt x="0" y="332631"/>
                  </a:lnTo>
                  <a:lnTo>
                    <a:pt x="21824" y="324666"/>
                  </a:lnTo>
                  <a:lnTo>
                    <a:pt x="33931" y="308362"/>
                  </a:lnTo>
                  <a:lnTo>
                    <a:pt x="57147" y="294897"/>
                  </a:lnTo>
                  <a:lnTo>
                    <a:pt x="74077" y="277011"/>
                  </a:lnTo>
                  <a:lnTo>
                    <a:pt x="120026" y="269181"/>
                  </a:lnTo>
                  <a:lnTo>
                    <a:pt x="144707" y="274552"/>
                  </a:lnTo>
                  <a:lnTo>
                    <a:pt x="168858" y="227569"/>
                  </a:lnTo>
                  <a:lnTo>
                    <a:pt x="184249" y="240255"/>
                  </a:lnTo>
                  <a:lnTo>
                    <a:pt x="218112" y="213635"/>
                  </a:lnTo>
                  <a:lnTo>
                    <a:pt x="231241" y="203237"/>
                  </a:lnTo>
                  <a:lnTo>
                    <a:pt x="245746" y="170285"/>
                  </a:lnTo>
                  <a:lnTo>
                    <a:pt x="241789" y="139676"/>
                  </a:lnTo>
                  <a:lnTo>
                    <a:pt x="251540" y="122348"/>
                  </a:lnTo>
                  <a:close/>
                  <a:moveTo>
                    <a:pt x="289900" y="0"/>
                  </a:moveTo>
                  <a:lnTo>
                    <a:pt x="317027" y="29715"/>
                  </a:lnTo>
                  <a:lnTo>
                    <a:pt x="334738" y="39246"/>
                  </a:lnTo>
                  <a:lnTo>
                    <a:pt x="350972" y="45273"/>
                  </a:lnTo>
                  <a:lnTo>
                    <a:pt x="367300" y="33279"/>
                  </a:lnTo>
                  <a:lnTo>
                    <a:pt x="372432" y="64938"/>
                  </a:lnTo>
                  <a:lnTo>
                    <a:pt x="338189" y="72605"/>
                  </a:lnTo>
                  <a:lnTo>
                    <a:pt x="317973" y="100254"/>
                  </a:lnTo>
                  <a:lnTo>
                    <a:pt x="281679" y="81251"/>
                  </a:lnTo>
                  <a:lnTo>
                    <a:pt x="269117" y="111612"/>
                  </a:lnTo>
                  <a:lnTo>
                    <a:pt x="243445" y="112027"/>
                  </a:lnTo>
                  <a:lnTo>
                    <a:pt x="240270" y="84457"/>
                  </a:lnTo>
                  <a:lnTo>
                    <a:pt x="251685" y="62941"/>
                  </a:lnTo>
                  <a:lnTo>
                    <a:pt x="276348" y="61381"/>
                  </a:lnTo>
                  <a:lnTo>
                    <a:pt x="283074" y="2227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94" name="Freeform 92">
              <a:extLst>
                <a:ext uri="{FF2B5EF4-FFF2-40B4-BE49-F238E27FC236}">
                  <a16:creationId xmlns:a16="http://schemas.microsoft.com/office/drawing/2014/main" id="{4AC5B12D-54D7-1143-B3C1-99526A7CE78D}"/>
                </a:ext>
              </a:extLst>
            </p:cNvPr>
            <p:cNvSpPr>
              <a:spLocks noChangeAspect="1"/>
            </p:cNvSpPr>
            <p:nvPr>
              <p:custDataLst>
                <p:tags r:id="rId98"/>
              </p:custDataLst>
            </p:nvPr>
          </p:nvSpPr>
          <p:spPr>
            <a:xfrm>
              <a:off x="5433256" y="3098966"/>
              <a:ext cx="943933" cy="435498"/>
            </a:xfrm>
            <a:custGeom>
              <a:avLst/>
              <a:gdLst/>
              <a:ahLst/>
              <a:cxnLst/>
              <a:rect l="0" t="0" r="0" b="0"/>
              <a:pathLst>
                <a:path w="943933" h="435498">
                  <a:moveTo>
                    <a:pt x="565431" y="391267"/>
                  </a:moveTo>
                  <a:lnTo>
                    <a:pt x="552196" y="396398"/>
                  </a:lnTo>
                  <a:lnTo>
                    <a:pt x="521751" y="415668"/>
                  </a:lnTo>
                  <a:lnTo>
                    <a:pt x="511652" y="435323"/>
                  </a:lnTo>
                  <a:lnTo>
                    <a:pt x="503051" y="435497"/>
                  </a:lnTo>
                  <a:lnTo>
                    <a:pt x="496726" y="422501"/>
                  </a:lnTo>
                  <a:lnTo>
                    <a:pt x="467369" y="421609"/>
                  </a:lnTo>
                  <a:lnTo>
                    <a:pt x="462674" y="398995"/>
                  </a:lnTo>
                  <a:lnTo>
                    <a:pt x="451427" y="398800"/>
                  </a:lnTo>
                  <a:lnTo>
                    <a:pt x="453149" y="370874"/>
                  </a:lnTo>
                  <a:lnTo>
                    <a:pt x="425515" y="350369"/>
                  </a:lnTo>
                  <a:lnTo>
                    <a:pt x="385928" y="352566"/>
                  </a:lnTo>
                  <a:lnTo>
                    <a:pt x="358863" y="356662"/>
                  </a:lnTo>
                  <a:lnTo>
                    <a:pt x="336820" y="331212"/>
                  </a:lnTo>
                  <a:lnTo>
                    <a:pt x="317930" y="320464"/>
                  </a:lnTo>
                  <a:lnTo>
                    <a:pt x="282153" y="300007"/>
                  </a:lnTo>
                  <a:lnTo>
                    <a:pt x="277839" y="297517"/>
                  </a:lnTo>
                  <a:lnTo>
                    <a:pt x="218420" y="314428"/>
                  </a:lnTo>
                  <a:lnTo>
                    <a:pt x="219326" y="417751"/>
                  </a:lnTo>
                  <a:lnTo>
                    <a:pt x="207486" y="419094"/>
                  </a:lnTo>
                  <a:lnTo>
                    <a:pt x="191331" y="397433"/>
                  </a:lnTo>
                  <a:lnTo>
                    <a:pt x="175728" y="389656"/>
                  </a:lnTo>
                  <a:lnTo>
                    <a:pt x="149526" y="395435"/>
                  </a:lnTo>
                  <a:lnTo>
                    <a:pt x="139328" y="404651"/>
                  </a:lnTo>
                  <a:lnTo>
                    <a:pt x="138032" y="397900"/>
                  </a:lnTo>
                  <a:lnTo>
                    <a:pt x="143706" y="386325"/>
                  </a:lnTo>
                  <a:lnTo>
                    <a:pt x="139304" y="376614"/>
                  </a:lnTo>
                  <a:lnTo>
                    <a:pt x="112551" y="367086"/>
                  </a:lnTo>
                  <a:lnTo>
                    <a:pt x="102138" y="341822"/>
                  </a:lnTo>
                  <a:lnTo>
                    <a:pt x="89392" y="334664"/>
                  </a:lnTo>
                  <a:lnTo>
                    <a:pt x="88619" y="325420"/>
                  </a:lnTo>
                  <a:lnTo>
                    <a:pt x="111075" y="328117"/>
                  </a:lnTo>
                  <a:lnTo>
                    <a:pt x="111962" y="307282"/>
                  </a:lnTo>
                  <a:lnTo>
                    <a:pt x="131593" y="302633"/>
                  </a:lnTo>
                  <a:lnTo>
                    <a:pt x="151756" y="306909"/>
                  </a:lnTo>
                  <a:lnTo>
                    <a:pt x="155911" y="278858"/>
                  </a:lnTo>
                  <a:lnTo>
                    <a:pt x="151799" y="260930"/>
                  </a:lnTo>
                  <a:lnTo>
                    <a:pt x="128699" y="262337"/>
                  </a:lnTo>
                  <a:lnTo>
                    <a:pt x="109077" y="255232"/>
                  </a:lnTo>
                  <a:lnTo>
                    <a:pt x="82351" y="268019"/>
                  </a:lnTo>
                  <a:lnTo>
                    <a:pt x="60816" y="274095"/>
                  </a:lnTo>
                  <a:lnTo>
                    <a:pt x="49093" y="269410"/>
                  </a:lnTo>
                  <a:lnTo>
                    <a:pt x="51435" y="254447"/>
                  </a:lnTo>
                  <a:lnTo>
                    <a:pt x="36721" y="234895"/>
                  </a:lnTo>
                  <a:lnTo>
                    <a:pt x="19593" y="235715"/>
                  </a:lnTo>
                  <a:lnTo>
                    <a:pt x="0" y="215724"/>
                  </a:lnTo>
                  <a:lnTo>
                    <a:pt x="13324" y="193207"/>
                  </a:lnTo>
                  <a:lnTo>
                    <a:pt x="6583" y="187114"/>
                  </a:lnTo>
                  <a:lnTo>
                    <a:pt x="25000" y="154044"/>
                  </a:lnTo>
                  <a:lnTo>
                    <a:pt x="48737" y="171553"/>
                  </a:lnTo>
                  <a:lnTo>
                    <a:pt x="51612" y="149482"/>
                  </a:lnTo>
                  <a:lnTo>
                    <a:pt x="99261" y="116257"/>
                  </a:lnTo>
                  <a:lnTo>
                    <a:pt x="135317" y="115461"/>
                  </a:lnTo>
                  <a:lnTo>
                    <a:pt x="186195" y="136670"/>
                  </a:lnTo>
                  <a:lnTo>
                    <a:pt x="213526" y="148979"/>
                  </a:lnTo>
                  <a:lnTo>
                    <a:pt x="238018" y="136142"/>
                  </a:lnTo>
                  <a:lnTo>
                    <a:pt x="274611" y="135529"/>
                  </a:lnTo>
                  <a:lnTo>
                    <a:pt x="304134" y="151293"/>
                  </a:lnTo>
                  <a:lnTo>
                    <a:pt x="310840" y="142278"/>
                  </a:lnTo>
                  <a:lnTo>
                    <a:pt x="343262" y="143590"/>
                  </a:lnTo>
                  <a:lnTo>
                    <a:pt x="349046" y="129143"/>
                  </a:lnTo>
                  <a:lnTo>
                    <a:pt x="311641" y="108013"/>
                  </a:lnTo>
                  <a:lnTo>
                    <a:pt x="333795" y="92938"/>
                  </a:lnTo>
                  <a:lnTo>
                    <a:pt x="329472" y="84467"/>
                  </a:lnTo>
                  <a:lnTo>
                    <a:pt x="351631" y="76355"/>
                  </a:lnTo>
                  <a:lnTo>
                    <a:pt x="334967" y="54855"/>
                  </a:lnTo>
                  <a:lnTo>
                    <a:pt x="345551" y="44072"/>
                  </a:lnTo>
                  <a:lnTo>
                    <a:pt x="431926" y="33027"/>
                  </a:lnTo>
                  <a:lnTo>
                    <a:pt x="443198" y="25155"/>
                  </a:lnTo>
                  <a:lnTo>
                    <a:pt x="500956" y="13345"/>
                  </a:lnTo>
                  <a:lnTo>
                    <a:pt x="521709" y="0"/>
                  </a:lnTo>
                  <a:lnTo>
                    <a:pt x="563190" y="6942"/>
                  </a:lnTo>
                  <a:lnTo>
                    <a:pt x="570459" y="40046"/>
                  </a:lnTo>
                  <a:lnTo>
                    <a:pt x="594557" y="32314"/>
                  </a:lnTo>
                  <a:lnTo>
                    <a:pt x="624204" y="43142"/>
                  </a:lnTo>
                  <a:lnTo>
                    <a:pt x="622292" y="60371"/>
                  </a:lnTo>
                  <a:lnTo>
                    <a:pt x="644432" y="58576"/>
                  </a:lnTo>
                  <a:lnTo>
                    <a:pt x="702283" y="28687"/>
                  </a:lnTo>
                  <a:lnTo>
                    <a:pt x="693836" y="38659"/>
                  </a:lnTo>
                  <a:lnTo>
                    <a:pt x="723284" y="63056"/>
                  </a:lnTo>
                  <a:lnTo>
                    <a:pt x="774865" y="141591"/>
                  </a:lnTo>
                  <a:lnTo>
                    <a:pt x="787165" y="125601"/>
                  </a:lnTo>
                  <a:lnTo>
                    <a:pt x="818963" y="143191"/>
                  </a:lnTo>
                  <a:lnTo>
                    <a:pt x="852133" y="135360"/>
                  </a:lnTo>
                  <a:lnTo>
                    <a:pt x="864877" y="140845"/>
                  </a:lnTo>
                  <a:lnTo>
                    <a:pt x="875986" y="158381"/>
                  </a:lnTo>
                  <a:lnTo>
                    <a:pt x="892125" y="164245"/>
                  </a:lnTo>
                  <a:lnTo>
                    <a:pt x="901952" y="177020"/>
                  </a:lnTo>
                  <a:lnTo>
                    <a:pt x="931684" y="172999"/>
                  </a:lnTo>
                  <a:lnTo>
                    <a:pt x="943932" y="191328"/>
                  </a:lnTo>
                  <a:lnTo>
                    <a:pt x="926362" y="211134"/>
                  </a:lnTo>
                  <a:lnTo>
                    <a:pt x="907191" y="213901"/>
                  </a:lnTo>
                  <a:lnTo>
                    <a:pt x="906088" y="243422"/>
                  </a:lnTo>
                  <a:lnTo>
                    <a:pt x="893250" y="256623"/>
                  </a:lnTo>
                  <a:lnTo>
                    <a:pt x="847459" y="247019"/>
                  </a:lnTo>
                  <a:lnTo>
                    <a:pt x="830803" y="298870"/>
                  </a:lnTo>
                  <a:lnTo>
                    <a:pt x="818988" y="305249"/>
                  </a:lnTo>
                  <a:lnTo>
                    <a:pt x="773262" y="316662"/>
                  </a:lnTo>
                  <a:lnTo>
                    <a:pt x="794039" y="365759"/>
                  </a:lnTo>
                  <a:lnTo>
                    <a:pt x="778203" y="373044"/>
                  </a:lnTo>
                  <a:lnTo>
                    <a:pt x="780046" y="388937"/>
                  </a:lnTo>
                  <a:lnTo>
                    <a:pt x="765819" y="384855"/>
                  </a:lnTo>
                  <a:lnTo>
                    <a:pt x="754243" y="374832"/>
                  </a:lnTo>
                  <a:lnTo>
                    <a:pt x="719994" y="371909"/>
                  </a:lnTo>
                  <a:lnTo>
                    <a:pt x="681722" y="371144"/>
                  </a:lnTo>
                  <a:lnTo>
                    <a:pt x="673334" y="374223"/>
                  </a:lnTo>
                  <a:lnTo>
                    <a:pt x="640462" y="362451"/>
                  </a:lnTo>
                  <a:lnTo>
                    <a:pt x="627361" y="368255"/>
                  </a:lnTo>
                  <a:lnTo>
                    <a:pt x="623771" y="384738"/>
                  </a:lnTo>
                  <a:lnTo>
                    <a:pt x="585797" y="375131"/>
                  </a:lnTo>
                  <a:lnTo>
                    <a:pt x="570600" y="37907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95" name="Freeform 93">
              <a:extLst>
                <a:ext uri="{FF2B5EF4-FFF2-40B4-BE49-F238E27FC236}">
                  <a16:creationId xmlns:a16="http://schemas.microsoft.com/office/drawing/2014/main" id="{8B358DCE-3B4D-8B47-91D2-7048C4630CA1}"/>
                </a:ext>
              </a:extLst>
            </p:cNvPr>
            <p:cNvSpPr>
              <a:spLocks noChangeAspect="1"/>
            </p:cNvSpPr>
            <p:nvPr>
              <p:custDataLst>
                <p:tags r:id="rId99"/>
              </p:custDataLst>
            </p:nvPr>
          </p:nvSpPr>
          <p:spPr>
            <a:xfrm>
              <a:off x="5143041" y="4400752"/>
              <a:ext cx="183774" cy="235249"/>
            </a:xfrm>
            <a:custGeom>
              <a:avLst/>
              <a:gdLst/>
              <a:ahLst/>
              <a:cxnLst/>
              <a:rect l="0" t="0" r="0" b="0"/>
              <a:pathLst>
                <a:path w="183774" h="235249">
                  <a:moveTo>
                    <a:pt x="163873" y="147031"/>
                  </a:moveTo>
                  <a:lnTo>
                    <a:pt x="177542" y="166076"/>
                  </a:lnTo>
                  <a:lnTo>
                    <a:pt x="161375" y="175296"/>
                  </a:lnTo>
                  <a:lnTo>
                    <a:pt x="155676" y="184932"/>
                  </a:lnTo>
                  <a:lnTo>
                    <a:pt x="147024" y="186625"/>
                  </a:lnTo>
                  <a:lnTo>
                    <a:pt x="143750" y="202903"/>
                  </a:lnTo>
                  <a:lnTo>
                    <a:pt x="136337" y="212227"/>
                  </a:lnTo>
                  <a:lnTo>
                    <a:pt x="131832" y="227610"/>
                  </a:lnTo>
                  <a:lnTo>
                    <a:pt x="122538" y="235248"/>
                  </a:lnTo>
                  <a:lnTo>
                    <a:pt x="89407" y="212133"/>
                  </a:lnTo>
                  <a:lnTo>
                    <a:pt x="87832" y="198728"/>
                  </a:lnTo>
                  <a:lnTo>
                    <a:pt x="4133" y="151683"/>
                  </a:lnTo>
                  <a:lnTo>
                    <a:pt x="234" y="149148"/>
                  </a:lnTo>
                  <a:lnTo>
                    <a:pt x="0" y="124684"/>
                  </a:lnTo>
                  <a:lnTo>
                    <a:pt x="6611" y="115331"/>
                  </a:lnTo>
                  <a:lnTo>
                    <a:pt x="17970" y="100050"/>
                  </a:lnTo>
                  <a:lnTo>
                    <a:pt x="26370" y="83222"/>
                  </a:lnTo>
                  <a:lnTo>
                    <a:pt x="16215" y="56709"/>
                  </a:lnTo>
                  <a:lnTo>
                    <a:pt x="13516" y="45112"/>
                  </a:lnTo>
                  <a:lnTo>
                    <a:pt x="2572" y="29062"/>
                  </a:lnTo>
                  <a:lnTo>
                    <a:pt x="16772" y="15249"/>
                  </a:lnTo>
                  <a:lnTo>
                    <a:pt x="32418" y="0"/>
                  </a:lnTo>
                  <a:lnTo>
                    <a:pt x="44408" y="3884"/>
                  </a:lnTo>
                  <a:lnTo>
                    <a:pt x="44408" y="16872"/>
                  </a:lnTo>
                  <a:lnTo>
                    <a:pt x="52294" y="24484"/>
                  </a:lnTo>
                  <a:lnTo>
                    <a:pt x="68360" y="24484"/>
                  </a:lnTo>
                  <a:lnTo>
                    <a:pt x="97578" y="44118"/>
                  </a:lnTo>
                  <a:lnTo>
                    <a:pt x="104874" y="44351"/>
                  </a:lnTo>
                  <a:lnTo>
                    <a:pt x="110279" y="43715"/>
                  </a:lnTo>
                  <a:lnTo>
                    <a:pt x="115389" y="46380"/>
                  </a:lnTo>
                  <a:lnTo>
                    <a:pt x="130782" y="48198"/>
                  </a:lnTo>
                  <a:lnTo>
                    <a:pt x="137604" y="38567"/>
                  </a:lnTo>
                  <a:lnTo>
                    <a:pt x="158691" y="28897"/>
                  </a:lnTo>
                  <a:lnTo>
                    <a:pt x="168001" y="36710"/>
                  </a:lnTo>
                  <a:lnTo>
                    <a:pt x="183773" y="36714"/>
                  </a:lnTo>
                  <a:lnTo>
                    <a:pt x="163598" y="62928"/>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96" name="Freeform 94">
              <a:extLst>
                <a:ext uri="{FF2B5EF4-FFF2-40B4-BE49-F238E27FC236}">
                  <a16:creationId xmlns:a16="http://schemas.microsoft.com/office/drawing/2014/main" id="{17DCB26D-4B31-0143-A662-9455349D0CC3}"/>
                </a:ext>
              </a:extLst>
            </p:cNvPr>
            <p:cNvSpPr>
              <a:spLocks noChangeAspect="1"/>
            </p:cNvSpPr>
            <p:nvPr>
              <p:custDataLst>
                <p:tags r:id="rId100"/>
              </p:custDataLst>
            </p:nvPr>
          </p:nvSpPr>
          <p:spPr>
            <a:xfrm>
              <a:off x="5964122" y="3461417"/>
              <a:ext cx="249181" cy="110678"/>
            </a:xfrm>
            <a:custGeom>
              <a:avLst/>
              <a:gdLst/>
              <a:ahLst/>
              <a:cxnLst/>
              <a:rect l="0" t="0" r="0" b="0"/>
              <a:pathLst>
                <a:path w="249181" h="110678">
                  <a:moveTo>
                    <a:pt x="34565" y="28816"/>
                  </a:moveTo>
                  <a:lnTo>
                    <a:pt x="39734" y="16619"/>
                  </a:lnTo>
                  <a:lnTo>
                    <a:pt x="54931" y="12680"/>
                  </a:lnTo>
                  <a:lnTo>
                    <a:pt x="92905" y="22287"/>
                  </a:lnTo>
                  <a:lnTo>
                    <a:pt x="96495" y="5804"/>
                  </a:lnTo>
                  <a:lnTo>
                    <a:pt x="109596" y="0"/>
                  </a:lnTo>
                  <a:lnTo>
                    <a:pt x="142468" y="11772"/>
                  </a:lnTo>
                  <a:lnTo>
                    <a:pt x="150856" y="8693"/>
                  </a:lnTo>
                  <a:lnTo>
                    <a:pt x="189128" y="9458"/>
                  </a:lnTo>
                  <a:lnTo>
                    <a:pt x="223377" y="12381"/>
                  </a:lnTo>
                  <a:lnTo>
                    <a:pt x="234953" y="22404"/>
                  </a:lnTo>
                  <a:lnTo>
                    <a:pt x="249180" y="26486"/>
                  </a:lnTo>
                  <a:lnTo>
                    <a:pt x="245935" y="32764"/>
                  </a:lnTo>
                  <a:lnTo>
                    <a:pt x="209562" y="47756"/>
                  </a:lnTo>
                  <a:lnTo>
                    <a:pt x="201334" y="58694"/>
                  </a:lnTo>
                  <a:lnTo>
                    <a:pt x="171726" y="61961"/>
                  </a:lnTo>
                  <a:lnTo>
                    <a:pt x="162998" y="79456"/>
                  </a:lnTo>
                  <a:lnTo>
                    <a:pt x="138564" y="75790"/>
                  </a:lnTo>
                  <a:lnTo>
                    <a:pt x="122615" y="81137"/>
                  </a:lnTo>
                  <a:lnTo>
                    <a:pt x="100580" y="94011"/>
                  </a:lnTo>
                  <a:lnTo>
                    <a:pt x="103760" y="100366"/>
                  </a:lnTo>
                  <a:lnTo>
                    <a:pt x="97189" y="106569"/>
                  </a:lnTo>
                  <a:lnTo>
                    <a:pt x="53547" y="110677"/>
                  </a:lnTo>
                  <a:lnTo>
                    <a:pt x="25028" y="101881"/>
                  </a:lnTo>
                  <a:lnTo>
                    <a:pt x="0" y="103982"/>
                  </a:lnTo>
                  <a:lnTo>
                    <a:pt x="2186" y="88316"/>
                  </a:lnTo>
                  <a:lnTo>
                    <a:pt x="27310" y="92874"/>
                  </a:lnTo>
                  <a:lnTo>
                    <a:pt x="35762" y="84468"/>
                  </a:lnTo>
                  <a:lnTo>
                    <a:pt x="53320" y="87154"/>
                  </a:lnTo>
                  <a:lnTo>
                    <a:pt x="82879" y="67464"/>
                  </a:lnTo>
                  <a:lnTo>
                    <a:pt x="55519" y="52979"/>
                  </a:lnTo>
                  <a:lnTo>
                    <a:pt x="39078" y="59841"/>
                  </a:lnTo>
                  <a:lnTo>
                    <a:pt x="22047" y="49474"/>
                  </a:lnTo>
                  <a:lnTo>
                    <a:pt x="41418" y="3155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97" name="Freeform 95">
              <a:extLst>
                <a:ext uri="{FF2B5EF4-FFF2-40B4-BE49-F238E27FC236}">
                  <a16:creationId xmlns:a16="http://schemas.microsoft.com/office/drawing/2014/main" id="{5C88ABDF-CD0A-B046-A914-A5813034D978}"/>
                </a:ext>
              </a:extLst>
            </p:cNvPr>
            <p:cNvSpPr>
              <a:spLocks noChangeAspect="1"/>
            </p:cNvSpPr>
            <p:nvPr>
              <p:custDataLst>
                <p:tags r:id="rId101"/>
              </p:custDataLst>
            </p:nvPr>
          </p:nvSpPr>
          <p:spPr>
            <a:xfrm>
              <a:off x="6723155" y="4189298"/>
              <a:ext cx="121564" cy="95746"/>
            </a:xfrm>
            <a:custGeom>
              <a:avLst/>
              <a:gdLst/>
              <a:ahLst/>
              <a:cxnLst/>
              <a:rect l="0" t="0" r="0" b="0"/>
              <a:pathLst>
                <a:path w="121564" h="95746">
                  <a:moveTo>
                    <a:pt x="26525" y="92338"/>
                  </a:moveTo>
                  <a:lnTo>
                    <a:pt x="17141" y="80169"/>
                  </a:lnTo>
                  <a:lnTo>
                    <a:pt x="5466" y="56006"/>
                  </a:lnTo>
                  <a:lnTo>
                    <a:pt x="0" y="27679"/>
                  </a:lnTo>
                  <a:lnTo>
                    <a:pt x="14779" y="8124"/>
                  </a:lnTo>
                  <a:lnTo>
                    <a:pt x="44626" y="3625"/>
                  </a:lnTo>
                  <a:lnTo>
                    <a:pt x="66262" y="7006"/>
                  </a:lnTo>
                  <a:lnTo>
                    <a:pt x="85309" y="16235"/>
                  </a:lnTo>
                  <a:lnTo>
                    <a:pt x="95753" y="0"/>
                  </a:lnTo>
                  <a:lnTo>
                    <a:pt x="116212" y="8672"/>
                  </a:lnTo>
                  <a:lnTo>
                    <a:pt x="121563" y="24360"/>
                  </a:lnTo>
                  <a:lnTo>
                    <a:pt x="118720" y="52478"/>
                  </a:lnTo>
                  <a:lnTo>
                    <a:pt x="79921" y="70492"/>
                  </a:lnTo>
                  <a:lnTo>
                    <a:pt x="90059" y="84651"/>
                  </a:lnTo>
                  <a:lnTo>
                    <a:pt x="65827" y="86344"/>
                  </a:lnTo>
                  <a:lnTo>
                    <a:pt x="45847" y="9574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98" name="Freeform 96">
              <a:extLst>
                <a:ext uri="{FF2B5EF4-FFF2-40B4-BE49-F238E27FC236}">
                  <a16:creationId xmlns:a16="http://schemas.microsoft.com/office/drawing/2014/main" id="{E43068FD-4A5D-5948-97D5-9E2521CE566A}"/>
                </a:ext>
              </a:extLst>
            </p:cNvPr>
            <p:cNvSpPr>
              <a:spLocks noChangeAspect="1"/>
            </p:cNvSpPr>
            <p:nvPr>
              <p:custDataLst>
                <p:tags r:id="rId102"/>
              </p:custDataLst>
            </p:nvPr>
          </p:nvSpPr>
          <p:spPr>
            <a:xfrm>
              <a:off x="7271814" y="3590091"/>
              <a:ext cx="77348" cy="111676"/>
            </a:xfrm>
            <a:custGeom>
              <a:avLst/>
              <a:gdLst/>
              <a:ahLst/>
              <a:cxnLst/>
              <a:rect l="0" t="0" r="0" b="0"/>
              <a:pathLst>
                <a:path w="77348" h="111676">
                  <a:moveTo>
                    <a:pt x="51527" y="0"/>
                  </a:moveTo>
                  <a:lnTo>
                    <a:pt x="71453" y="31582"/>
                  </a:lnTo>
                  <a:lnTo>
                    <a:pt x="77166" y="48805"/>
                  </a:lnTo>
                  <a:lnTo>
                    <a:pt x="77347" y="79200"/>
                  </a:lnTo>
                  <a:lnTo>
                    <a:pt x="68646" y="93608"/>
                  </a:lnTo>
                  <a:lnTo>
                    <a:pt x="47745" y="98630"/>
                  </a:lnTo>
                  <a:lnTo>
                    <a:pt x="29295" y="109446"/>
                  </a:lnTo>
                  <a:lnTo>
                    <a:pt x="8502" y="111675"/>
                  </a:lnTo>
                  <a:lnTo>
                    <a:pt x="5921" y="97475"/>
                  </a:lnTo>
                  <a:lnTo>
                    <a:pt x="10198" y="77823"/>
                  </a:lnTo>
                  <a:lnTo>
                    <a:pt x="0" y="50360"/>
                  </a:lnTo>
                  <a:lnTo>
                    <a:pt x="17144" y="45896"/>
                  </a:lnTo>
                  <a:lnTo>
                    <a:pt x="1323" y="23119"/>
                  </a:lnTo>
                  <a:lnTo>
                    <a:pt x="2768" y="20696"/>
                  </a:lnTo>
                  <a:lnTo>
                    <a:pt x="13072" y="21647"/>
                  </a:lnTo>
                  <a:lnTo>
                    <a:pt x="22064" y="9565"/>
                  </a:lnTo>
                  <a:lnTo>
                    <a:pt x="38378" y="8266"/>
                  </a:lnTo>
                  <a:lnTo>
                    <a:pt x="48204" y="649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99" name="Freeform 97">
              <a:extLst>
                <a:ext uri="{FF2B5EF4-FFF2-40B4-BE49-F238E27FC236}">
                  <a16:creationId xmlns:a16="http://schemas.microsoft.com/office/drawing/2014/main" id="{82AC6FE1-8DEA-D24B-B1E4-C0D4A85CFBCB}"/>
                </a:ext>
              </a:extLst>
            </p:cNvPr>
            <p:cNvSpPr>
              <a:spLocks noChangeAspect="1"/>
            </p:cNvSpPr>
            <p:nvPr>
              <p:custDataLst>
                <p:tags r:id="rId103"/>
              </p:custDataLst>
            </p:nvPr>
          </p:nvSpPr>
          <p:spPr>
            <a:xfrm>
              <a:off x="4823972" y="3462154"/>
              <a:ext cx="39342" cy="39699"/>
            </a:xfrm>
            <a:custGeom>
              <a:avLst/>
              <a:gdLst/>
              <a:ahLst/>
              <a:cxnLst/>
              <a:rect l="0" t="0" r="0" b="0"/>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00" name="Freeform 98">
              <a:extLst>
                <a:ext uri="{FF2B5EF4-FFF2-40B4-BE49-F238E27FC236}">
                  <a16:creationId xmlns:a16="http://schemas.microsoft.com/office/drawing/2014/main" id="{04A309BC-077C-D44E-8DA6-6265A6282C1D}"/>
                </a:ext>
              </a:extLst>
            </p:cNvPr>
            <p:cNvSpPr>
              <a:spLocks noChangeAspect="1"/>
            </p:cNvSpPr>
            <p:nvPr>
              <p:custDataLst>
                <p:tags r:id="rId104"/>
              </p:custDataLst>
            </p:nvPr>
          </p:nvSpPr>
          <p:spPr>
            <a:xfrm>
              <a:off x="5435617" y="3812811"/>
              <a:ext cx="42643" cy="38569"/>
            </a:xfrm>
            <a:custGeom>
              <a:avLst/>
              <a:gdLst/>
              <a:ahLst/>
              <a:cxnLst/>
              <a:rect l="0" t="0" r="0" b="0"/>
              <a:pathLst>
                <a:path w="42643" h="38569">
                  <a:moveTo>
                    <a:pt x="32450" y="2104"/>
                  </a:moveTo>
                  <a:lnTo>
                    <a:pt x="37266" y="13238"/>
                  </a:lnTo>
                  <a:lnTo>
                    <a:pt x="35206" y="18983"/>
                  </a:lnTo>
                  <a:lnTo>
                    <a:pt x="42642" y="37918"/>
                  </a:lnTo>
                  <a:lnTo>
                    <a:pt x="26317" y="38568"/>
                  </a:lnTo>
                  <a:lnTo>
                    <a:pt x="20569" y="26619"/>
                  </a:lnTo>
                  <a:lnTo>
                    <a:pt x="0" y="24195"/>
                  </a:lnTo>
                  <a:lnTo>
                    <a:pt x="16940" y="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01" name="Freeform 99">
              <a:extLst>
                <a:ext uri="{FF2B5EF4-FFF2-40B4-BE49-F238E27FC236}">
                  <a16:creationId xmlns:a16="http://schemas.microsoft.com/office/drawing/2014/main" id="{55E9A91E-C3DD-5443-BAC1-EA60E89C56E4}"/>
                </a:ext>
              </a:extLst>
            </p:cNvPr>
            <p:cNvSpPr>
              <a:spLocks noChangeAspect="1"/>
            </p:cNvSpPr>
            <p:nvPr>
              <p:custDataLst>
                <p:tags r:id="rId105"/>
              </p:custDataLst>
            </p:nvPr>
          </p:nvSpPr>
          <p:spPr>
            <a:xfrm>
              <a:off x="6671632" y="4000706"/>
              <a:ext cx="171933" cy="204828"/>
            </a:xfrm>
            <a:custGeom>
              <a:avLst/>
              <a:gdLst/>
              <a:ahLst/>
              <a:cxnLst/>
              <a:rect l="0" t="0" r="0" b="0"/>
              <a:pathLst>
                <a:path w="171933" h="204828">
                  <a:moveTo>
                    <a:pt x="117785" y="195598"/>
                  </a:moveTo>
                  <a:lnTo>
                    <a:pt x="125300" y="184977"/>
                  </a:lnTo>
                  <a:lnTo>
                    <a:pt x="126332" y="164995"/>
                  </a:lnTo>
                  <a:lnTo>
                    <a:pt x="107642" y="144364"/>
                  </a:lnTo>
                  <a:lnTo>
                    <a:pt x="106202" y="120929"/>
                  </a:lnTo>
                  <a:lnTo>
                    <a:pt x="88648" y="101587"/>
                  </a:lnTo>
                  <a:lnTo>
                    <a:pt x="71191" y="99949"/>
                  </a:lnTo>
                  <a:lnTo>
                    <a:pt x="66540" y="108245"/>
                  </a:lnTo>
                  <a:lnTo>
                    <a:pt x="53020" y="108934"/>
                  </a:lnTo>
                  <a:lnTo>
                    <a:pt x="46110" y="104731"/>
                  </a:lnTo>
                  <a:lnTo>
                    <a:pt x="21780" y="118940"/>
                  </a:lnTo>
                  <a:lnTo>
                    <a:pt x="21234" y="97580"/>
                  </a:lnTo>
                  <a:lnTo>
                    <a:pt x="26914" y="72382"/>
                  </a:lnTo>
                  <a:lnTo>
                    <a:pt x="11317" y="71286"/>
                  </a:lnTo>
                  <a:lnTo>
                    <a:pt x="9992" y="56868"/>
                  </a:lnTo>
                  <a:lnTo>
                    <a:pt x="0" y="49449"/>
                  </a:lnTo>
                  <a:lnTo>
                    <a:pt x="4919" y="40584"/>
                  </a:lnTo>
                  <a:lnTo>
                    <a:pt x="24560" y="24893"/>
                  </a:lnTo>
                  <a:lnTo>
                    <a:pt x="26637" y="30565"/>
                  </a:lnTo>
                  <a:lnTo>
                    <a:pt x="38943" y="31223"/>
                  </a:lnTo>
                  <a:lnTo>
                    <a:pt x="35455" y="3555"/>
                  </a:lnTo>
                  <a:lnTo>
                    <a:pt x="47421" y="0"/>
                  </a:lnTo>
                  <a:lnTo>
                    <a:pt x="60912" y="19127"/>
                  </a:lnTo>
                  <a:lnTo>
                    <a:pt x="71276" y="41055"/>
                  </a:lnTo>
                  <a:lnTo>
                    <a:pt x="99693" y="41244"/>
                  </a:lnTo>
                  <a:lnTo>
                    <a:pt x="108640" y="62213"/>
                  </a:lnTo>
                  <a:lnTo>
                    <a:pt x="93886" y="68497"/>
                  </a:lnTo>
                  <a:lnTo>
                    <a:pt x="87264" y="77111"/>
                  </a:lnTo>
                  <a:lnTo>
                    <a:pt x="114919" y="91418"/>
                  </a:lnTo>
                  <a:lnTo>
                    <a:pt x="134105" y="119586"/>
                  </a:lnTo>
                  <a:lnTo>
                    <a:pt x="148652" y="140513"/>
                  </a:lnTo>
                  <a:lnTo>
                    <a:pt x="166119" y="156996"/>
                  </a:lnTo>
                  <a:lnTo>
                    <a:pt x="171932" y="173693"/>
                  </a:lnTo>
                  <a:lnTo>
                    <a:pt x="167735" y="197264"/>
                  </a:lnTo>
                  <a:lnTo>
                    <a:pt x="147276" y="188592"/>
                  </a:lnTo>
                  <a:lnTo>
                    <a:pt x="136832" y="20482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02" name="Freeform 100">
              <a:extLst>
                <a:ext uri="{FF2B5EF4-FFF2-40B4-BE49-F238E27FC236}">
                  <a16:creationId xmlns:a16="http://schemas.microsoft.com/office/drawing/2014/main" id="{A1CDC1E9-62F8-874C-AE7F-730844B62A07}"/>
                </a:ext>
              </a:extLst>
            </p:cNvPr>
            <p:cNvSpPr>
              <a:spLocks noChangeAspect="1"/>
            </p:cNvSpPr>
            <p:nvPr>
              <p:custDataLst>
                <p:tags r:id="rId106"/>
              </p:custDataLst>
            </p:nvPr>
          </p:nvSpPr>
          <p:spPr>
            <a:xfrm>
              <a:off x="5171490" y="3695127"/>
              <a:ext cx="34295" cy="40343"/>
            </a:xfrm>
            <a:custGeom>
              <a:avLst/>
              <a:gdLst/>
              <a:ahLst/>
              <a:cxnLst/>
              <a:rect l="0" t="0" r="0" b="0"/>
              <a:pathLst>
                <a:path w="34295" h="40343">
                  <a:moveTo>
                    <a:pt x="16043" y="35481"/>
                  </a:moveTo>
                  <a:lnTo>
                    <a:pt x="9850" y="35820"/>
                  </a:lnTo>
                  <a:lnTo>
                    <a:pt x="7724" y="40342"/>
                  </a:lnTo>
                  <a:lnTo>
                    <a:pt x="0" y="40293"/>
                  </a:lnTo>
                  <a:lnTo>
                    <a:pt x="8221" y="19229"/>
                  </a:lnTo>
                  <a:lnTo>
                    <a:pt x="19702" y="909"/>
                  </a:lnTo>
                  <a:lnTo>
                    <a:pt x="20136" y="0"/>
                  </a:lnTo>
                  <a:lnTo>
                    <a:pt x="30518" y="1329"/>
                  </a:lnTo>
                  <a:lnTo>
                    <a:pt x="34294" y="11535"/>
                  </a:lnTo>
                  <a:lnTo>
                    <a:pt x="21707" y="2131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03" name="Freeform 101">
              <a:extLst>
                <a:ext uri="{FF2B5EF4-FFF2-40B4-BE49-F238E27FC236}">
                  <a16:creationId xmlns:a16="http://schemas.microsoft.com/office/drawing/2014/main" id="{D7D02D36-699E-9B46-BCFD-5D09F2C88897}"/>
                </a:ext>
              </a:extLst>
            </p:cNvPr>
            <p:cNvSpPr>
              <a:spLocks noChangeAspect="1"/>
            </p:cNvSpPr>
            <p:nvPr>
              <p:custDataLst>
                <p:tags r:id="rId107"/>
              </p:custDataLst>
            </p:nvPr>
          </p:nvSpPr>
          <p:spPr>
            <a:xfrm>
              <a:off x="4096649" y="4330351"/>
              <a:ext cx="90001" cy="97016"/>
            </a:xfrm>
            <a:custGeom>
              <a:avLst/>
              <a:gdLst/>
              <a:ahLst/>
              <a:cxnLst/>
              <a:rect l="0" t="0" r="0" b="0"/>
              <a:pathLst>
                <a:path w="90001" h="97016">
                  <a:moveTo>
                    <a:pt x="86020" y="96811"/>
                  </a:moveTo>
                  <a:lnTo>
                    <a:pt x="79974" y="97015"/>
                  </a:lnTo>
                  <a:lnTo>
                    <a:pt x="56183" y="85990"/>
                  </a:lnTo>
                  <a:lnTo>
                    <a:pt x="35209" y="68374"/>
                  </a:lnTo>
                  <a:lnTo>
                    <a:pt x="15543" y="55701"/>
                  </a:lnTo>
                  <a:lnTo>
                    <a:pt x="0" y="40748"/>
                  </a:lnTo>
                  <a:lnTo>
                    <a:pt x="5516" y="33328"/>
                  </a:lnTo>
                  <a:lnTo>
                    <a:pt x="6742" y="26580"/>
                  </a:lnTo>
                  <a:lnTo>
                    <a:pt x="17155" y="13979"/>
                  </a:lnTo>
                  <a:lnTo>
                    <a:pt x="27900" y="3135"/>
                  </a:lnTo>
                  <a:lnTo>
                    <a:pt x="32828" y="2617"/>
                  </a:lnTo>
                  <a:lnTo>
                    <a:pt x="38858" y="0"/>
                  </a:lnTo>
                  <a:lnTo>
                    <a:pt x="48508" y="14233"/>
                  </a:lnTo>
                  <a:lnTo>
                    <a:pt x="46983" y="23558"/>
                  </a:lnTo>
                  <a:lnTo>
                    <a:pt x="51474" y="28500"/>
                  </a:lnTo>
                  <a:lnTo>
                    <a:pt x="58000" y="28614"/>
                  </a:lnTo>
                  <a:lnTo>
                    <a:pt x="62708" y="19268"/>
                  </a:lnTo>
                  <a:lnTo>
                    <a:pt x="69236" y="19864"/>
                  </a:lnTo>
                  <a:lnTo>
                    <a:pt x="68171" y="26614"/>
                  </a:lnTo>
                  <a:lnTo>
                    <a:pt x="70479" y="37828"/>
                  </a:lnTo>
                  <a:lnTo>
                    <a:pt x="65460" y="48127"/>
                  </a:lnTo>
                  <a:lnTo>
                    <a:pt x="72189" y="54489"/>
                  </a:lnTo>
                  <a:lnTo>
                    <a:pt x="79522" y="56038"/>
                  </a:lnTo>
                  <a:lnTo>
                    <a:pt x="89298" y="65739"/>
                  </a:lnTo>
                  <a:lnTo>
                    <a:pt x="90000" y="74861"/>
                  </a:lnTo>
                  <a:lnTo>
                    <a:pt x="87793" y="77758"/>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04" name="Freeform 102">
              <a:extLst>
                <a:ext uri="{FF2B5EF4-FFF2-40B4-BE49-F238E27FC236}">
                  <a16:creationId xmlns:a16="http://schemas.microsoft.com/office/drawing/2014/main" id="{7A732E5D-CA63-AC43-8A24-832DB74C93D8}"/>
                </a:ext>
              </a:extLst>
            </p:cNvPr>
            <p:cNvSpPr>
              <a:spLocks noChangeAspect="1"/>
            </p:cNvSpPr>
            <p:nvPr>
              <p:custDataLst>
                <p:tags r:id="rId108"/>
              </p:custDataLst>
            </p:nvPr>
          </p:nvSpPr>
          <p:spPr>
            <a:xfrm>
              <a:off x="4575803" y="3734232"/>
              <a:ext cx="365756" cy="336032"/>
            </a:xfrm>
            <a:custGeom>
              <a:avLst/>
              <a:gdLst/>
              <a:ahLst/>
              <a:cxnLst/>
              <a:rect l="0" t="0" r="0" b="0"/>
              <a:pathLst>
                <a:path w="365756" h="336032">
                  <a:moveTo>
                    <a:pt x="127691" y="256802"/>
                  </a:moveTo>
                  <a:lnTo>
                    <a:pt x="111362" y="265830"/>
                  </a:lnTo>
                  <a:lnTo>
                    <a:pt x="98379" y="252484"/>
                  </a:lnTo>
                  <a:lnTo>
                    <a:pt x="61864" y="241982"/>
                  </a:lnTo>
                  <a:lnTo>
                    <a:pt x="51735" y="226692"/>
                  </a:lnTo>
                  <a:lnTo>
                    <a:pt x="33515" y="215317"/>
                  </a:lnTo>
                  <a:lnTo>
                    <a:pt x="22724" y="219805"/>
                  </a:lnTo>
                  <a:lnTo>
                    <a:pt x="14516" y="206131"/>
                  </a:lnTo>
                  <a:lnTo>
                    <a:pt x="13649" y="195597"/>
                  </a:lnTo>
                  <a:lnTo>
                    <a:pt x="0" y="177625"/>
                  </a:lnTo>
                  <a:lnTo>
                    <a:pt x="9161" y="167290"/>
                  </a:lnTo>
                  <a:lnTo>
                    <a:pt x="7148" y="151696"/>
                  </a:lnTo>
                  <a:lnTo>
                    <a:pt x="10081" y="138077"/>
                  </a:lnTo>
                  <a:lnTo>
                    <a:pt x="8413" y="126700"/>
                  </a:lnTo>
                  <a:lnTo>
                    <a:pt x="12479" y="106266"/>
                  </a:lnTo>
                  <a:lnTo>
                    <a:pt x="11224" y="94584"/>
                  </a:lnTo>
                  <a:lnTo>
                    <a:pt x="3757" y="72293"/>
                  </a:lnTo>
                  <a:lnTo>
                    <a:pt x="15018" y="66422"/>
                  </a:lnTo>
                  <a:lnTo>
                    <a:pt x="17016" y="55695"/>
                  </a:lnTo>
                  <a:lnTo>
                    <a:pt x="14561" y="45150"/>
                  </a:lnTo>
                  <a:lnTo>
                    <a:pt x="30412" y="35316"/>
                  </a:lnTo>
                  <a:lnTo>
                    <a:pt x="37519" y="27119"/>
                  </a:lnTo>
                  <a:lnTo>
                    <a:pt x="48771" y="19760"/>
                  </a:lnTo>
                  <a:lnTo>
                    <a:pt x="50075" y="0"/>
                  </a:lnTo>
                  <a:lnTo>
                    <a:pt x="77187" y="8868"/>
                  </a:lnTo>
                  <a:lnTo>
                    <a:pt x="86880" y="6653"/>
                  </a:lnTo>
                  <a:lnTo>
                    <a:pt x="106164" y="10947"/>
                  </a:lnTo>
                  <a:lnTo>
                    <a:pt x="136793" y="22423"/>
                  </a:lnTo>
                  <a:lnTo>
                    <a:pt x="147603" y="45146"/>
                  </a:lnTo>
                  <a:lnTo>
                    <a:pt x="168324" y="50090"/>
                  </a:lnTo>
                  <a:lnTo>
                    <a:pt x="200859" y="60732"/>
                  </a:lnTo>
                  <a:lnTo>
                    <a:pt x="225449" y="73335"/>
                  </a:lnTo>
                  <a:lnTo>
                    <a:pt x="236705" y="66764"/>
                  </a:lnTo>
                  <a:lnTo>
                    <a:pt x="247768" y="55087"/>
                  </a:lnTo>
                  <a:lnTo>
                    <a:pt x="242390" y="35562"/>
                  </a:lnTo>
                  <a:lnTo>
                    <a:pt x="249629" y="23112"/>
                  </a:lnTo>
                  <a:lnTo>
                    <a:pt x="266262" y="11080"/>
                  </a:lnTo>
                  <a:lnTo>
                    <a:pt x="282153" y="7571"/>
                  </a:lnTo>
                  <a:lnTo>
                    <a:pt x="313379" y="12834"/>
                  </a:lnTo>
                  <a:lnTo>
                    <a:pt x="321251" y="24310"/>
                  </a:lnTo>
                  <a:lnTo>
                    <a:pt x="329845" y="24418"/>
                  </a:lnTo>
                  <a:lnTo>
                    <a:pt x="337194" y="28787"/>
                  </a:lnTo>
                  <a:lnTo>
                    <a:pt x="360130" y="31789"/>
                  </a:lnTo>
                  <a:lnTo>
                    <a:pt x="365755" y="40226"/>
                  </a:lnTo>
                  <a:lnTo>
                    <a:pt x="357400" y="52454"/>
                  </a:lnTo>
                  <a:lnTo>
                    <a:pt x="360972" y="63320"/>
                  </a:lnTo>
                  <a:lnTo>
                    <a:pt x="355027" y="78955"/>
                  </a:lnTo>
                  <a:lnTo>
                    <a:pt x="361950" y="99264"/>
                  </a:lnTo>
                  <a:lnTo>
                    <a:pt x="361950" y="187788"/>
                  </a:lnTo>
                  <a:lnTo>
                    <a:pt x="361950" y="277740"/>
                  </a:lnTo>
                  <a:lnTo>
                    <a:pt x="361950" y="325892"/>
                  </a:lnTo>
                  <a:lnTo>
                    <a:pt x="335405" y="325965"/>
                  </a:lnTo>
                  <a:lnTo>
                    <a:pt x="335120" y="336031"/>
                  </a:lnTo>
                  <a:lnTo>
                    <a:pt x="243058" y="289953"/>
                  </a:lnTo>
                  <a:lnTo>
                    <a:pt x="150994" y="24349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05" name="Freeform 103">
              <a:extLst>
                <a:ext uri="{FF2B5EF4-FFF2-40B4-BE49-F238E27FC236}">
                  <a16:creationId xmlns:a16="http://schemas.microsoft.com/office/drawing/2014/main" id="{D63AD75F-3B1C-1F4A-89D9-310B6E6D4F23}"/>
                </a:ext>
              </a:extLst>
            </p:cNvPr>
            <p:cNvSpPr>
              <a:spLocks noChangeAspect="1"/>
            </p:cNvSpPr>
            <p:nvPr>
              <p:custDataLst>
                <p:tags r:id="rId109"/>
              </p:custDataLst>
            </p:nvPr>
          </p:nvSpPr>
          <p:spPr>
            <a:xfrm>
              <a:off x="6200264" y="4300490"/>
              <a:ext cx="48308" cy="89556"/>
            </a:xfrm>
            <a:custGeom>
              <a:avLst/>
              <a:gdLst/>
              <a:ahLst/>
              <a:cxnLst/>
              <a:rect l="0" t="0" r="0" b="0"/>
              <a:pathLst>
                <a:path w="48308" h="89556">
                  <a:moveTo>
                    <a:pt x="48307" y="53508"/>
                  </a:moveTo>
                  <a:lnTo>
                    <a:pt x="44830" y="77659"/>
                  </a:lnTo>
                  <a:lnTo>
                    <a:pt x="35152" y="84255"/>
                  </a:lnTo>
                  <a:lnTo>
                    <a:pt x="15078" y="89555"/>
                  </a:lnTo>
                  <a:lnTo>
                    <a:pt x="4093" y="71129"/>
                  </a:lnTo>
                  <a:lnTo>
                    <a:pt x="0" y="37768"/>
                  </a:lnTo>
                  <a:lnTo>
                    <a:pt x="10448" y="0"/>
                  </a:lnTo>
                  <a:lnTo>
                    <a:pt x="26399" y="12941"/>
                  </a:lnTo>
                  <a:lnTo>
                    <a:pt x="37144" y="2932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06" name="Freeform 104">
              <a:extLst>
                <a:ext uri="{FF2B5EF4-FFF2-40B4-BE49-F238E27FC236}">
                  <a16:creationId xmlns:a16="http://schemas.microsoft.com/office/drawing/2014/main" id="{C4DDDB9E-6AA7-4F44-AD19-264851516565}"/>
                </a:ext>
              </a:extLst>
            </p:cNvPr>
            <p:cNvSpPr>
              <a:spLocks noChangeAspect="1"/>
            </p:cNvSpPr>
            <p:nvPr>
              <p:custDataLst>
                <p:tags r:id="rId110"/>
              </p:custDataLst>
            </p:nvPr>
          </p:nvSpPr>
          <p:spPr>
            <a:xfrm>
              <a:off x="4983902" y="5207605"/>
              <a:ext cx="53689" cy="50367"/>
            </a:xfrm>
            <a:custGeom>
              <a:avLst/>
              <a:gdLst/>
              <a:ahLst/>
              <a:cxnLst/>
              <a:rect l="0" t="0" r="0" b="0"/>
              <a:pathLst>
                <a:path w="53689" h="50367">
                  <a:moveTo>
                    <a:pt x="45680" y="7728"/>
                  </a:moveTo>
                  <a:lnTo>
                    <a:pt x="53688" y="15311"/>
                  </a:lnTo>
                  <a:lnTo>
                    <a:pt x="46607" y="27563"/>
                  </a:lnTo>
                  <a:lnTo>
                    <a:pt x="42683" y="35803"/>
                  </a:lnTo>
                  <a:lnTo>
                    <a:pt x="29818" y="39752"/>
                  </a:lnTo>
                  <a:lnTo>
                    <a:pt x="25574" y="47845"/>
                  </a:lnTo>
                  <a:lnTo>
                    <a:pt x="17315" y="50366"/>
                  </a:lnTo>
                  <a:lnTo>
                    <a:pt x="0" y="30899"/>
                  </a:lnTo>
                  <a:lnTo>
                    <a:pt x="12309" y="14943"/>
                  </a:lnTo>
                  <a:lnTo>
                    <a:pt x="24815" y="5114"/>
                  </a:lnTo>
                  <a:lnTo>
                    <a:pt x="35603" y="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07" name="Freeform 105">
              <a:extLst>
                <a:ext uri="{FF2B5EF4-FFF2-40B4-BE49-F238E27FC236}">
                  <a16:creationId xmlns:a16="http://schemas.microsoft.com/office/drawing/2014/main" id="{7B0DA6D1-64BB-FA42-B2AC-E14E27AFCECC}"/>
                </a:ext>
              </a:extLst>
            </p:cNvPr>
            <p:cNvSpPr>
              <a:spLocks noChangeAspect="1"/>
            </p:cNvSpPr>
            <p:nvPr>
              <p:custDataLst>
                <p:tags r:id="rId111"/>
              </p:custDataLst>
            </p:nvPr>
          </p:nvSpPr>
          <p:spPr>
            <a:xfrm>
              <a:off x="4846711" y="3066903"/>
              <a:ext cx="127705" cy="79318"/>
            </a:xfrm>
            <a:custGeom>
              <a:avLst/>
              <a:gdLst/>
              <a:ahLst/>
              <a:cxnLst/>
              <a:rect l="0" t="0" r="0" b="0"/>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08" name="Freeform 106">
              <a:extLst>
                <a:ext uri="{FF2B5EF4-FFF2-40B4-BE49-F238E27FC236}">
                  <a16:creationId xmlns:a16="http://schemas.microsoft.com/office/drawing/2014/main" id="{94B1863D-20FC-834D-914F-AFFEA0BB046B}"/>
                </a:ext>
              </a:extLst>
            </p:cNvPr>
            <p:cNvSpPr>
              <a:spLocks noChangeAspect="1"/>
            </p:cNvSpPr>
            <p:nvPr>
              <p:custDataLst>
                <p:tags r:id="rId112"/>
              </p:custDataLst>
            </p:nvPr>
          </p:nvSpPr>
          <p:spPr>
            <a:xfrm>
              <a:off x="4491659" y="3262886"/>
              <a:ext cx="13128" cy="20602"/>
            </a:xfrm>
            <a:custGeom>
              <a:avLst/>
              <a:gdLst/>
              <a:ahLst/>
              <a:cxnLst/>
              <a:rect l="0" t="0" r="0" b="0"/>
              <a:pathLst>
                <a:path w="13128" h="20602">
                  <a:moveTo>
                    <a:pt x="8518" y="0"/>
                  </a:moveTo>
                  <a:lnTo>
                    <a:pt x="13127" y="6806"/>
                  </a:lnTo>
                  <a:lnTo>
                    <a:pt x="11824" y="19968"/>
                  </a:lnTo>
                  <a:lnTo>
                    <a:pt x="5163" y="20601"/>
                  </a:lnTo>
                  <a:lnTo>
                    <a:pt x="0" y="18001"/>
                  </a:lnTo>
                  <a:lnTo>
                    <a:pt x="2501" y="1138"/>
                  </a:lnTo>
                  <a:close/>
                </a:path>
              </a:pathLst>
            </a:custGeom>
            <a:solidFill>
              <a:schemeClr val="tx2"/>
            </a:solid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09" name="Freeform 107">
              <a:extLst>
                <a:ext uri="{FF2B5EF4-FFF2-40B4-BE49-F238E27FC236}">
                  <a16:creationId xmlns:a16="http://schemas.microsoft.com/office/drawing/2014/main" id="{50CDFCB5-3234-0F4B-83A8-1A4F7B282764}"/>
                </a:ext>
              </a:extLst>
            </p:cNvPr>
            <p:cNvSpPr>
              <a:spLocks noChangeAspect="1"/>
            </p:cNvSpPr>
            <p:nvPr>
              <p:custDataLst>
                <p:tags r:id="rId113"/>
              </p:custDataLst>
            </p:nvPr>
          </p:nvSpPr>
          <p:spPr>
            <a:xfrm>
              <a:off x="4846711" y="3014062"/>
              <a:ext cx="164370" cy="77479"/>
            </a:xfrm>
            <a:custGeom>
              <a:avLst/>
              <a:gdLst/>
              <a:ahLst/>
              <a:cxnLst/>
              <a:rect l="0" t="0" r="0" b="0"/>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10" name="Freeform 108">
              <a:extLst>
                <a:ext uri="{FF2B5EF4-FFF2-40B4-BE49-F238E27FC236}">
                  <a16:creationId xmlns:a16="http://schemas.microsoft.com/office/drawing/2014/main" id="{C3699D4F-04C2-D448-A488-C5A766D2044C}"/>
                </a:ext>
              </a:extLst>
            </p:cNvPr>
            <p:cNvSpPr>
              <a:spLocks noChangeAspect="1"/>
            </p:cNvSpPr>
            <p:nvPr>
              <p:custDataLst>
                <p:tags r:id="rId114"/>
              </p:custDataLst>
            </p:nvPr>
          </p:nvSpPr>
          <p:spPr>
            <a:xfrm>
              <a:off x="3967809" y="3665931"/>
              <a:ext cx="366921" cy="360052"/>
            </a:xfrm>
            <a:custGeom>
              <a:avLst/>
              <a:gdLst/>
              <a:ahLst/>
              <a:cxnLst/>
              <a:rect l="0" t="0" r="0" b="0"/>
              <a:pathLst>
                <a:path w="366921" h="360052">
                  <a:moveTo>
                    <a:pt x="272989" y="127"/>
                  </a:moveTo>
                  <a:lnTo>
                    <a:pt x="286905" y="11269"/>
                  </a:lnTo>
                  <a:lnTo>
                    <a:pt x="308855" y="9456"/>
                  </a:lnTo>
                  <a:lnTo>
                    <a:pt x="332763" y="15240"/>
                  </a:lnTo>
                  <a:lnTo>
                    <a:pt x="342790" y="15520"/>
                  </a:lnTo>
                  <a:lnTo>
                    <a:pt x="351491" y="32245"/>
                  </a:lnTo>
                  <a:lnTo>
                    <a:pt x="352865" y="48055"/>
                  </a:lnTo>
                  <a:lnTo>
                    <a:pt x="360838" y="75336"/>
                  </a:lnTo>
                  <a:lnTo>
                    <a:pt x="366920" y="80802"/>
                  </a:lnTo>
                  <a:lnTo>
                    <a:pt x="362688" y="90780"/>
                  </a:lnTo>
                  <a:lnTo>
                    <a:pt x="332479" y="95100"/>
                  </a:lnTo>
                  <a:lnTo>
                    <a:pt x="322037" y="104560"/>
                  </a:lnTo>
                  <a:lnTo>
                    <a:pt x="308683" y="106787"/>
                  </a:lnTo>
                  <a:lnTo>
                    <a:pt x="307692" y="125645"/>
                  </a:lnTo>
                  <a:lnTo>
                    <a:pt x="280704" y="135689"/>
                  </a:lnTo>
                  <a:lnTo>
                    <a:pt x="271875" y="148361"/>
                  </a:lnTo>
                  <a:lnTo>
                    <a:pt x="252982" y="155146"/>
                  </a:lnTo>
                  <a:lnTo>
                    <a:pt x="229932" y="158991"/>
                  </a:lnTo>
                  <a:lnTo>
                    <a:pt x="192656" y="177546"/>
                  </a:lnTo>
                  <a:lnTo>
                    <a:pt x="192853" y="207171"/>
                  </a:lnTo>
                  <a:lnTo>
                    <a:pt x="189339" y="207171"/>
                  </a:lnTo>
                  <a:lnTo>
                    <a:pt x="189338" y="207171"/>
                  </a:lnTo>
                  <a:lnTo>
                    <a:pt x="189868" y="220500"/>
                  </a:lnTo>
                  <a:lnTo>
                    <a:pt x="175599" y="221301"/>
                  </a:lnTo>
                  <a:lnTo>
                    <a:pt x="168160" y="226948"/>
                  </a:lnTo>
                  <a:lnTo>
                    <a:pt x="157678" y="226948"/>
                  </a:lnTo>
                  <a:lnTo>
                    <a:pt x="149326" y="223726"/>
                  </a:lnTo>
                  <a:lnTo>
                    <a:pt x="129907" y="226391"/>
                  </a:lnTo>
                  <a:lnTo>
                    <a:pt x="122389" y="245685"/>
                  </a:lnTo>
                  <a:lnTo>
                    <a:pt x="115176" y="247494"/>
                  </a:lnTo>
                  <a:lnTo>
                    <a:pt x="104322" y="278527"/>
                  </a:lnTo>
                  <a:lnTo>
                    <a:pt x="72234" y="304933"/>
                  </a:lnTo>
                  <a:lnTo>
                    <a:pt x="64615" y="338525"/>
                  </a:lnTo>
                  <a:lnTo>
                    <a:pt x="55159" y="349407"/>
                  </a:lnTo>
                  <a:lnTo>
                    <a:pt x="52386" y="358121"/>
                  </a:lnTo>
                  <a:lnTo>
                    <a:pt x="403" y="360051"/>
                  </a:lnTo>
                  <a:lnTo>
                    <a:pt x="0" y="360012"/>
                  </a:lnTo>
                  <a:lnTo>
                    <a:pt x="1089" y="348807"/>
                  </a:lnTo>
                  <a:lnTo>
                    <a:pt x="9956" y="342208"/>
                  </a:lnTo>
                  <a:lnTo>
                    <a:pt x="17509" y="329565"/>
                  </a:lnTo>
                  <a:lnTo>
                    <a:pt x="16020" y="321338"/>
                  </a:lnTo>
                  <a:lnTo>
                    <a:pt x="23956" y="304143"/>
                  </a:lnTo>
                  <a:lnTo>
                    <a:pt x="36804" y="288600"/>
                  </a:lnTo>
                  <a:lnTo>
                    <a:pt x="44575" y="284654"/>
                  </a:lnTo>
                  <a:lnTo>
                    <a:pt x="50685" y="270340"/>
                  </a:lnTo>
                  <a:lnTo>
                    <a:pt x="51233" y="257229"/>
                  </a:lnTo>
                  <a:lnTo>
                    <a:pt x="59565" y="241970"/>
                  </a:lnTo>
                  <a:lnTo>
                    <a:pt x="74941" y="232949"/>
                  </a:lnTo>
                  <a:lnTo>
                    <a:pt x="89572" y="207577"/>
                  </a:lnTo>
                  <a:lnTo>
                    <a:pt x="89996" y="207228"/>
                  </a:lnTo>
                  <a:lnTo>
                    <a:pt x="101601" y="197648"/>
                  </a:lnTo>
                  <a:lnTo>
                    <a:pt x="123066" y="194889"/>
                  </a:lnTo>
                  <a:lnTo>
                    <a:pt x="141254" y="177776"/>
                  </a:lnTo>
                  <a:lnTo>
                    <a:pt x="152827" y="171086"/>
                  </a:lnTo>
                  <a:lnTo>
                    <a:pt x="172096" y="150051"/>
                  </a:lnTo>
                  <a:lnTo>
                    <a:pt x="166327" y="118504"/>
                  </a:lnTo>
                  <a:lnTo>
                    <a:pt x="175097" y="96540"/>
                  </a:lnTo>
                  <a:lnTo>
                    <a:pt x="178193" y="83034"/>
                  </a:lnTo>
                  <a:lnTo>
                    <a:pt x="193040" y="65637"/>
                  </a:lnTo>
                  <a:lnTo>
                    <a:pt x="216198" y="53826"/>
                  </a:lnTo>
                  <a:lnTo>
                    <a:pt x="233318" y="43104"/>
                  </a:lnTo>
                  <a:lnTo>
                    <a:pt x="248741" y="16110"/>
                  </a:lnTo>
                  <a:lnTo>
                    <a:pt x="255998" y="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11" name="Freeform 109">
              <a:extLst>
                <a:ext uri="{FF2B5EF4-FFF2-40B4-BE49-F238E27FC236}">
                  <a16:creationId xmlns:a16="http://schemas.microsoft.com/office/drawing/2014/main" id="{0EFD0406-C351-A94B-BA11-C6E5E0064FAD}"/>
                </a:ext>
              </a:extLst>
            </p:cNvPr>
            <p:cNvSpPr>
              <a:spLocks noChangeAspect="1"/>
            </p:cNvSpPr>
            <p:nvPr>
              <p:custDataLst>
                <p:tags r:id="rId115"/>
              </p:custDataLst>
            </p:nvPr>
          </p:nvSpPr>
          <p:spPr>
            <a:xfrm>
              <a:off x="4975132" y="3312530"/>
              <a:ext cx="78605" cy="86780"/>
            </a:xfrm>
            <a:custGeom>
              <a:avLst/>
              <a:gdLst/>
              <a:ahLst/>
              <a:cxnLst/>
              <a:rect l="0" t="0" r="0" b="0"/>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12" name="Freeform 110">
              <a:extLst>
                <a:ext uri="{FF2B5EF4-FFF2-40B4-BE49-F238E27FC236}">
                  <a16:creationId xmlns:a16="http://schemas.microsoft.com/office/drawing/2014/main" id="{4AB8BDC3-2F71-F242-AD5A-C6855A4A4489}"/>
                </a:ext>
              </a:extLst>
            </p:cNvPr>
            <p:cNvSpPr>
              <a:spLocks noChangeAspect="1"/>
            </p:cNvSpPr>
            <p:nvPr>
              <p:custDataLst>
                <p:tags r:id="rId116"/>
              </p:custDataLst>
            </p:nvPr>
          </p:nvSpPr>
          <p:spPr>
            <a:xfrm>
              <a:off x="5359109" y="4807217"/>
              <a:ext cx="166712" cy="324707"/>
            </a:xfrm>
            <a:custGeom>
              <a:avLst/>
              <a:gdLst/>
              <a:ahLst/>
              <a:cxnLst/>
              <a:rect l="0" t="0" r="0" b="0"/>
              <a:pathLst>
                <a:path w="166712" h="324707">
                  <a:moveTo>
                    <a:pt x="145174" y="10056"/>
                  </a:moveTo>
                  <a:lnTo>
                    <a:pt x="151302" y="20033"/>
                  </a:lnTo>
                  <a:lnTo>
                    <a:pt x="157016" y="35542"/>
                  </a:lnTo>
                  <a:lnTo>
                    <a:pt x="160730" y="63863"/>
                  </a:lnTo>
                  <a:lnTo>
                    <a:pt x="166711" y="74900"/>
                  </a:lnTo>
                  <a:lnTo>
                    <a:pt x="164416" y="86233"/>
                  </a:lnTo>
                  <a:lnTo>
                    <a:pt x="160334" y="93194"/>
                  </a:lnTo>
                  <a:lnTo>
                    <a:pt x="152494" y="79335"/>
                  </a:lnTo>
                  <a:lnTo>
                    <a:pt x="148154" y="86331"/>
                  </a:lnTo>
                  <a:lnTo>
                    <a:pt x="152557" y="103872"/>
                  </a:lnTo>
                  <a:lnTo>
                    <a:pt x="150507" y="113930"/>
                  </a:lnTo>
                  <a:lnTo>
                    <a:pt x="144138" y="119415"/>
                  </a:lnTo>
                  <a:lnTo>
                    <a:pt x="142684" y="139568"/>
                  </a:lnTo>
                  <a:lnTo>
                    <a:pt x="133593" y="167403"/>
                  </a:lnTo>
                  <a:lnTo>
                    <a:pt x="122208" y="200471"/>
                  </a:lnTo>
                  <a:lnTo>
                    <a:pt x="107947" y="246241"/>
                  </a:lnTo>
                  <a:lnTo>
                    <a:pt x="99106" y="280080"/>
                  </a:lnTo>
                  <a:lnTo>
                    <a:pt x="88674" y="308476"/>
                  </a:lnTo>
                  <a:lnTo>
                    <a:pt x="69901" y="314295"/>
                  </a:lnTo>
                  <a:lnTo>
                    <a:pt x="49750" y="324706"/>
                  </a:lnTo>
                  <a:lnTo>
                    <a:pt x="36456" y="318419"/>
                  </a:lnTo>
                  <a:lnTo>
                    <a:pt x="18132" y="309623"/>
                  </a:lnTo>
                  <a:lnTo>
                    <a:pt x="11762" y="296680"/>
                  </a:lnTo>
                  <a:lnTo>
                    <a:pt x="10239" y="275008"/>
                  </a:lnTo>
                  <a:lnTo>
                    <a:pt x="2111" y="255599"/>
                  </a:lnTo>
                  <a:lnTo>
                    <a:pt x="0" y="238143"/>
                  </a:lnTo>
                  <a:lnTo>
                    <a:pt x="4134" y="220707"/>
                  </a:lnTo>
                  <a:lnTo>
                    <a:pt x="14761" y="216528"/>
                  </a:lnTo>
                  <a:lnTo>
                    <a:pt x="14823" y="208502"/>
                  </a:lnTo>
                  <a:lnTo>
                    <a:pt x="25856" y="190265"/>
                  </a:lnTo>
                  <a:lnTo>
                    <a:pt x="27935" y="174986"/>
                  </a:lnTo>
                  <a:lnTo>
                    <a:pt x="22580" y="163652"/>
                  </a:lnTo>
                  <a:lnTo>
                    <a:pt x="18207" y="148588"/>
                  </a:lnTo>
                  <a:lnTo>
                    <a:pt x="16363" y="126639"/>
                  </a:lnTo>
                  <a:lnTo>
                    <a:pt x="24428" y="113347"/>
                  </a:lnTo>
                  <a:lnTo>
                    <a:pt x="27522" y="98307"/>
                  </a:lnTo>
                  <a:lnTo>
                    <a:pt x="39027" y="97434"/>
                  </a:lnTo>
                  <a:lnTo>
                    <a:pt x="51902" y="92581"/>
                  </a:lnTo>
                  <a:lnTo>
                    <a:pt x="60449" y="88300"/>
                  </a:lnTo>
                  <a:lnTo>
                    <a:pt x="70588" y="87982"/>
                  </a:lnTo>
                  <a:lnTo>
                    <a:pt x="83744" y="74514"/>
                  </a:lnTo>
                  <a:lnTo>
                    <a:pt x="102739" y="59985"/>
                  </a:lnTo>
                  <a:lnTo>
                    <a:pt x="109666" y="48136"/>
                  </a:lnTo>
                  <a:lnTo>
                    <a:pt x="106523" y="38083"/>
                  </a:lnTo>
                  <a:lnTo>
                    <a:pt x="116328" y="40910"/>
                  </a:lnTo>
                  <a:lnTo>
                    <a:pt x="129052" y="24583"/>
                  </a:lnTo>
                  <a:lnTo>
                    <a:pt x="129478" y="10479"/>
                  </a:lnTo>
                  <a:lnTo>
                    <a:pt x="137122" y="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13" name="Freeform 111">
              <a:extLst>
                <a:ext uri="{FF2B5EF4-FFF2-40B4-BE49-F238E27FC236}">
                  <a16:creationId xmlns:a16="http://schemas.microsoft.com/office/drawing/2014/main" id="{237E1740-11D2-BA42-8F16-27007C2D08EA}"/>
                </a:ext>
              </a:extLst>
            </p:cNvPr>
            <p:cNvSpPr>
              <a:spLocks noChangeAspect="1"/>
            </p:cNvSpPr>
            <p:nvPr>
              <p:custDataLst>
                <p:tags r:id="rId117"/>
              </p:custDataLst>
            </p:nvPr>
          </p:nvSpPr>
          <p:spPr>
            <a:xfrm>
              <a:off x="4833031" y="3488729"/>
              <a:ext cx="57459" cy="40792"/>
            </a:xfrm>
            <a:custGeom>
              <a:avLst/>
              <a:gdLst/>
              <a:ahLst/>
              <a:cxnLst/>
              <a:rect l="0" t="0" r="0" b="0"/>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14" name="Freeform 112">
              <a:extLst>
                <a:ext uri="{FF2B5EF4-FFF2-40B4-BE49-F238E27FC236}">
                  <a16:creationId xmlns:a16="http://schemas.microsoft.com/office/drawing/2014/main" id="{7E365AA3-94A3-FD48-B971-BDFC9C9E52DD}"/>
                </a:ext>
              </a:extLst>
            </p:cNvPr>
            <p:cNvSpPr>
              <a:spLocks noChangeAspect="1"/>
            </p:cNvSpPr>
            <p:nvPr>
              <p:custDataLst>
                <p:tags r:id="rId118"/>
              </p:custDataLst>
            </p:nvPr>
          </p:nvSpPr>
          <p:spPr>
            <a:xfrm>
              <a:off x="4079753" y="3939439"/>
              <a:ext cx="379502" cy="354706"/>
            </a:xfrm>
            <a:custGeom>
              <a:avLst/>
              <a:gdLst/>
              <a:ahLst/>
              <a:cxnLst/>
              <a:rect l="0" t="0" r="0" b="0"/>
              <a:pathLst>
                <a:path w="379502" h="354706">
                  <a:moveTo>
                    <a:pt x="0" y="248769"/>
                  </a:moveTo>
                  <a:lnTo>
                    <a:pt x="7768" y="244472"/>
                  </a:lnTo>
                  <a:lnTo>
                    <a:pt x="11649" y="230566"/>
                  </a:lnTo>
                  <a:lnTo>
                    <a:pt x="18966" y="230021"/>
                  </a:lnTo>
                  <a:lnTo>
                    <a:pt x="35085" y="236599"/>
                  </a:lnTo>
                  <a:lnTo>
                    <a:pt x="48102" y="231929"/>
                  </a:lnTo>
                  <a:lnTo>
                    <a:pt x="57026" y="233497"/>
                  </a:lnTo>
                  <a:lnTo>
                    <a:pt x="60488" y="228243"/>
                  </a:lnTo>
                  <a:lnTo>
                    <a:pt x="153108" y="227884"/>
                  </a:lnTo>
                  <a:lnTo>
                    <a:pt x="158243" y="211318"/>
                  </a:lnTo>
                  <a:lnTo>
                    <a:pt x="154244" y="208399"/>
                  </a:lnTo>
                  <a:lnTo>
                    <a:pt x="143104" y="105350"/>
                  </a:lnTo>
                  <a:lnTo>
                    <a:pt x="131963" y="442"/>
                  </a:lnTo>
                  <a:lnTo>
                    <a:pt x="167290" y="0"/>
                  </a:lnTo>
                  <a:lnTo>
                    <a:pt x="245154" y="53303"/>
                  </a:lnTo>
                  <a:lnTo>
                    <a:pt x="323019" y="106073"/>
                  </a:lnTo>
                  <a:lnTo>
                    <a:pt x="328507" y="117342"/>
                  </a:lnTo>
                  <a:lnTo>
                    <a:pt x="342878" y="124209"/>
                  </a:lnTo>
                  <a:lnTo>
                    <a:pt x="353567" y="128112"/>
                  </a:lnTo>
                  <a:lnTo>
                    <a:pt x="353832" y="143352"/>
                  </a:lnTo>
                  <a:lnTo>
                    <a:pt x="379437" y="141009"/>
                  </a:lnTo>
                  <a:lnTo>
                    <a:pt x="379501" y="195897"/>
                  </a:lnTo>
                  <a:lnTo>
                    <a:pt x="366880" y="211734"/>
                  </a:lnTo>
                  <a:lnTo>
                    <a:pt x="364914" y="226314"/>
                  </a:lnTo>
                  <a:lnTo>
                    <a:pt x="344411" y="230062"/>
                  </a:lnTo>
                  <a:lnTo>
                    <a:pt x="312915" y="232093"/>
                  </a:lnTo>
                  <a:lnTo>
                    <a:pt x="304381" y="240483"/>
                  </a:lnTo>
                  <a:lnTo>
                    <a:pt x="289587" y="241410"/>
                  </a:lnTo>
                  <a:lnTo>
                    <a:pt x="274787" y="241518"/>
                  </a:lnTo>
                  <a:lnTo>
                    <a:pt x="269026" y="236991"/>
                  </a:lnTo>
                  <a:lnTo>
                    <a:pt x="256319" y="240350"/>
                  </a:lnTo>
                  <a:lnTo>
                    <a:pt x="234744" y="250132"/>
                  </a:lnTo>
                  <a:lnTo>
                    <a:pt x="230340" y="257496"/>
                  </a:lnTo>
                  <a:lnTo>
                    <a:pt x="212431" y="268044"/>
                  </a:lnTo>
                  <a:lnTo>
                    <a:pt x="209292" y="274084"/>
                  </a:lnTo>
                  <a:lnTo>
                    <a:pt x="199618" y="278867"/>
                  </a:lnTo>
                  <a:lnTo>
                    <a:pt x="188455" y="275700"/>
                  </a:lnTo>
                  <a:lnTo>
                    <a:pt x="182130" y="281432"/>
                  </a:lnTo>
                  <a:lnTo>
                    <a:pt x="178742" y="297523"/>
                  </a:lnTo>
                  <a:lnTo>
                    <a:pt x="160420" y="316931"/>
                  </a:lnTo>
                  <a:lnTo>
                    <a:pt x="160953" y="324852"/>
                  </a:lnTo>
                  <a:lnTo>
                    <a:pt x="154658" y="334756"/>
                  </a:lnTo>
                  <a:lnTo>
                    <a:pt x="156187" y="348306"/>
                  </a:lnTo>
                  <a:lnTo>
                    <a:pt x="146663" y="351762"/>
                  </a:lnTo>
                  <a:lnTo>
                    <a:pt x="141273" y="354705"/>
                  </a:lnTo>
                  <a:lnTo>
                    <a:pt x="137700" y="344729"/>
                  </a:lnTo>
                  <a:lnTo>
                    <a:pt x="131035" y="347360"/>
                  </a:lnTo>
                  <a:lnTo>
                    <a:pt x="127054" y="346905"/>
                  </a:lnTo>
                  <a:lnTo>
                    <a:pt x="122806" y="353711"/>
                  </a:lnTo>
                  <a:lnTo>
                    <a:pt x="104980" y="353519"/>
                  </a:lnTo>
                  <a:lnTo>
                    <a:pt x="98590" y="350017"/>
                  </a:lnTo>
                  <a:lnTo>
                    <a:pt x="95581" y="352136"/>
                  </a:lnTo>
                  <a:lnTo>
                    <a:pt x="88531" y="345411"/>
                  </a:lnTo>
                  <a:lnTo>
                    <a:pt x="89755" y="338461"/>
                  </a:lnTo>
                  <a:lnTo>
                    <a:pt x="86870" y="335737"/>
                  </a:lnTo>
                  <a:lnTo>
                    <a:pt x="81953" y="338034"/>
                  </a:lnTo>
                  <a:lnTo>
                    <a:pt x="82854" y="330435"/>
                  </a:lnTo>
                  <a:lnTo>
                    <a:pt x="87586" y="324419"/>
                  </a:lnTo>
                  <a:lnTo>
                    <a:pt x="78127" y="314621"/>
                  </a:lnTo>
                  <a:lnTo>
                    <a:pt x="75376" y="308166"/>
                  </a:lnTo>
                  <a:lnTo>
                    <a:pt x="70247" y="303020"/>
                  </a:lnTo>
                  <a:lnTo>
                    <a:pt x="65627" y="302405"/>
                  </a:lnTo>
                  <a:lnTo>
                    <a:pt x="60080" y="305686"/>
                  </a:lnTo>
                  <a:lnTo>
                    <a:pt x="52623" y="308818"/>
                  </a:lnTo>
                  <a:lnTo>
                    <a:pt x="46293" y="313884"/>
                  </a:lnTo>
                  <a:lnTo>
                    <a:pt x="36414" y="312014"/>
                  </a:lnTo>
                  <a:lnTo>
                    <a:pt x="30005" y="306069"/>
                  </a:lnTo>
                  <a:lnTo>
                    <a:pt x="26180" y="305288"/>
                  </a:lnTo>
                  <a:lnTo>
                    <a:pt x="20155" y="308409"/>
                  </a:lnTo>
                  <a:lnTo>
                    <a:pt x="16495" y="308435"/>
                  </a:lnTo>
                  <a:lnTo>
                    <a:pt x="15161" y="299858"/>
                  </a:lnTo>
                  <a:lnTo>
                    <a:pt x="16224" y="292555"/>
                  </a:lnTo>
                  <a:lnTo>
                    <a:pt x="14250" y="283481"/>
                  </a:lnTo>
                  <a:lnTo>
                    <a:pt x="5610" y="276885"/>
                  </a:lnTo>
                  <a:lnTo>
                    <a:pt x="1059" y="26342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15" name="Freeform 113">
              <a:extLst>
                <a:ext uri="{FF2B5EF4-FFF2-40B4-BE49-F238E27FC236}">
                  <a16:creationId xmlns:a16="http://schemas.microsoft.com/office/drawing/2014/main" id="{E5CEB4B6-FD69-DC42-AB5B-E8C7E20ED9DD}"/>
                </a:ext>
              </a:extLst>
            </p:cNvPr>
            <p:cNvSpPr>
              <a:spLocks noChangeAspect="1"/>
            </p:cNvSpPr>
            <p:nvPr>
              <p:custDataLst>
                <p:tags r:id="rId119"/>
              </p:custDataLst>
            </p:nvPr>
          </p:nvSpPr>
          <p:spPr>
            <a:xfrm>
              <a:off x="6491292" y="3856137"/>
              <a:ext cx="204901" cy="441817"/>
            </a:xfrm>
            <a:custGeom>
              <a:avLst/>
              <a:gdLst/>
              <a:ahLst/>
              <a:cxnLst/>
              <a:rect l="0" t="0" r="0" b="0"/>
              <a:pathLst>
                <a:path w="204901" h="441817">
                  <a:moveTo>
                    <a:pt x="167120" y="199578"/>
                  </a:moveTo>
                  <a:lnTo>
                    <a:pt x="153649" y="209989"/>
                  </a:lnTo>
                  <a:lnTo>
                    <a:pt x="137353" y="211063"/>
                  </a:lnTo>
                  <a:lnTo>
                    <a:pt x="126829" y="236940"/>
                  </a:lnTo>
                  <a:lnTo>
                    <a:pt x="117091" y="241277"/>
                  </a:lnTo>
                  <a:lnTo>
                    <a:pt x="128245" y="262190"/>
                  </a:lnTo>
                  <a:lnTo>
                    <a:pt x="142894" y="279541"/>
                  </a:lnTo>
                  <a:lnTo>
                    <a:pt x="152348" y="295189"/>
                  </a:lnTo>
                  <a:lnTo>
                    <a:pt x="143901" y="315751"/>
                  </a:lnTo>
                  <a:lnTo>
                    <a:pt x="135931" y="320114"/>
                  </a:lnTo>
                  <a:lnTo>
                    <a:pt x="141441" y="331948"/>
                  </a:lnTo>
                  <a:lnTo>
                    <a:pt x="156836" y="350656"/>
                  </a:lnTo>
                  <a:lnTo>
                    <a:pt x="159473" y="363775"/>
                  </a:lnTo>
                  <a:lnTo>
                    <a:pt x="159111" y="374678"/>
                  </a:lnTo>
                  <a:lnTo>
                    <a:pt x="168136" y="396046"/>
                  </a:lnTo>
                  <a:lnTo>
                    <a:pt x="155460" y="417842"/>
                  </a:lnTo>
                  <a:lnTo>
                    <a:pt x="144274" y="441816"/>
                  </a:lnTo>
                  <a:lnTo>
                    <a:pt x="142050" y="424502"/>
                  </a:lnTo>
                  <a:lnTo>
                    <a:pt x="149145" y="406607"/>
                  </a:lnTo>
                  <a:lnTo>
                    <a:pt x="141384" y="392764"/>
                  </a:lnTo>
                  <a:lnTo>
                    <a:pt x="143259" y="367225"/>
                  </a:lnTo>
                  <a:lnTo>
                    <a:pt x="133888" y="355054"/>
                  </a:lnTo>
                  <a:lnTo>
                    <a:pt x="126366" y="326873"/>
                  </a:lnTo>
                  <a:lnTo>
                    <a:pt x="122196" y="297019"/>
                  </a:lnTo>
                  <a:lnTo>
                    <a:pt x="112212" y="277383"/>
                  </a:lnTo>
                  <a:lnTo>
                    <a:pt x="97006" y="289280"/>
                  </a:lnTo>
                  <a:lnTo>
                    <a:pt x="70774" y="306157"/>
                  </a:lnTo>
                  <a:lnTo>
                    <a:pt x="57826" y="304051"/>
                  </a:lnTo>
                  <a:lnTo>
                    <a:pt x="43524" y="298502"/>
                  </a:lnTo>
                  <a:lnTo>
                    <a:pt x="51480" y="269103"/>
                  </a:lnTo>
                  <a:lnTo>
                    <a:pt x="46664" y="246811"/>
                  </a:lnTo>
                  <a:lnTo>
                    <a:pt x="28571" y="219253"/>
                  </a:lnTo>
                  <a:lnTo>
                    <a:pt x="31393" y="210613"/>
                  </a:lnTo>
                  <a:lnTo>
                    <a:pt x="17891" y="207538"/>
                  </a:lnTo>
                  <a:lnTo>
                    <a:pt x="1508" y="187929"/>
                  </a:lnTo>
                  <a:lnTo>
                    <a:pt x="0" y="168522"/>
                  </a:lnTo>
                  <a:lnTo>
                    <a:pt x="8057" y="172180"/>
                  </a:lnTo>
                  <a:lnTo>
                    <a:pt x="8529" y="154836"/>
                  </a:lnTo>
                  <a:lnTo>
                    <a:pt x="19918" y="149088"/>
                  </a:lnTo>
                  <a:lnTo>
                    <a:pt x="17475" y="138781"/>
                  </a:lnTo>
                  <a:lnTo>
                    <a:pt x="22693" y="130502"/>
                  </a:lnTo>
                  <a:lnTo>
                    <a:pt x="23589" y="105260"/>
                  </a:lnTo>
                  <a:lnTo>
                    <a:pt x="41630" y="110827"/>
                  </a:lnTo>
                  <a:lnTo>
                    <a:pt x="51923" y="90648"/>
                  </a:lnTo>
                  <a:lnTo>
                    <a:pt x="53091" y="78684"/>
                  </a:lnTo>
                  <a:lnTo>
                    <a:pt x="65830" y="58018"/>
                  </a:lnTo>
                  <a:lnTo>
                    <a:pt x="65129" y="43866"/>
                  </a:lnTo>
                  <a:lnTo>
                    <a:pt x="95011" y="26718"/>
                  </a:lnTo>
                  <a:lnTo>
                    <a:pt x="111507" y="31211"/>
                  </a:lnTo>
                  <a:lnTo>
                    <a:pt x="109614" y="15903"/>
                  </a:lnTo>
                  <a:lnTo>
                    <a:pt x="117706" y="11328"/>
                  </a:lnTo>
                  <a:lnTo>
                    <a:pt x="115964" y="1860"/>
                  </a:lnTo>
                  <a:lnTo>
                    <a:pt x="129465" y="0"/>
                  </a:lnTo>
                  <a:lnTo>
                    <a:pt x="137180" y="14702"/>
                  </a:lnTo>
                  <a:lnTo>
                    <a:pt x="147256" y="20642"/>
                  </a:lnTo>
                  <a:lnTo>
                    <a:pt x="147934" y="39654"/>
                  </a:lnTo>
                  <a:lnTo>
                    <a:pt x="147004" y="60057"/>
                  </a:lnTo>
                  <a:lnTo>
                    <a:pt x="125140" y="80623"/>
                  </a:lnTo>
                  <a:lnTo>
                    <a:pt x="122373" y="109687"/>
                  </a:lnTo>
                  <a:lnTo>
                    <a:pt x="146738" y="105633"/>
                  </a:lnTo>
                  <a:lnTo>
                    <a:pt x="152242" y="128091"/>
                  </a:lnTo>
                  <a:lnTo>
                    <a:pt x="166859" y="132804"/>
                  </a:lnTo>
                  <a:lnTo>
                    <a:pt x="160140" y="152969"/>
                  </a:lnTo>
                  <a:lnTo>
                    <a:pt x="177281" y="162056"/>
                  </a:lnTo>
                  <a:lnTo>
                    <a:pt x="187277" y="166508"/>
                  </a:lnTo>
                  <a:lnTo>
                    <a:pt x="204208" y="159466"/>
                  </a:lnTo>
                  <a:lnTo>
                    <a:pt x="204900" y="169462"/>
                  </a:lnTo>
                  <a:lnTo>
                    <a:pt x="185259" y="185153"/>
                  </a:lnTo>
                  <a:lnTo>
                    <a:pt x="180340" y="194018"/>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16" name="Freeform 114">
              <a:extLst>
                <a:ext uri="{FF2B5EF4-FFF2-40B4-BE49-F238E27FC236}">
                  <a16:creationId xmlns:a16="http://schemas.microsoft.com/office/drawing/2014/main" id="{46482EB8-8849-6046-B52E-BBAE38143035}"/>
                </a:ext>
              </a:extLst>
            </p:cNvPr>
            <p:cNvSpPr>
              <a:spLocks noChangeAspect="1"/>
            </p:cNvSpPr>
            <p:nvPr>
              <p:custDataLst>
                <p:tags r:id="rId120"/>
              </p:custDataLst>
            </p:nvPr>
          </p:nvSpPr>
          <p:spPr>
            <a:xfrm>
              <a:off x="4786562" y="3455083"/>
              <a:ext cx="43622" cy="45928"/>
            </a:xfrm>
            <a:custGeom>
              <a:avLst/>
              <a:gdLst/>
              <a:ahLst/>
              <a:cxnLst/>
              <a:rect l="0" t="0" r="0" b="0"/>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17" name="Freeform 115">
              <a:extLst>
                <a:ext uri="{FF2B5EF4-FFF2-40B4-BE49-F238E27FC236}">
                  <a16:creationId xmlns:a16="http://schemas.microsoft.com/office/drawing/2014/main" id="{4BD5752B-CF83-D04C-BA9B-20E22C4284E9}"/>
                </a:ext>
              </a:extLst>
            </p:cNvPr>
            <p:cNvSpPr>
              <a:spLocks noChangeAspect="1"/>
            </p:cNvSpPr>
            <p:nvPr>
              <p:custDataLst>
                <p:tags r:id="rId121"/>
              </p:custDataLst>
            </p:nvPr>
          </p:nvSpPr>
          <p:spPr>
            <a:xfrm>
              <a:off x="6386221" y="3204295"/>
              <a:ext cx="739144" cy="304460"/>
            </a:xfrm>
            <a:custGeom>
              <a:avLst/>
              <a:gdLst/>
              <a:ahLst/>
              <a:cxnLst/>
              <a:rect l="0" t="0" r="0" b="0"/>
              <a:pathLst>
                <a:path w="739144" h="304460">
                  <a:moveTo>
                    <a:pt x="0" y="83543"/>
                  </a:moveTo>
                  <a:lnTo>
                    <a:pt x="24336" y="78358"/>
                  </a:lnTo>
                  <a:lnTo>
                    <a:pt x="68380" y="52435"/>
                  </a:lnTo>
                  <a:lnTo>
                    <a:pt x="103489" y="38166"/>
                  </a:lnTo>
                  <a:lnTo>
                    <a:pt x="123560" y="47485"/>
                  </a:lnTo>
                  <a:lnTo>
                    <a:pt x="147643" y="47932"/>
                  </a:lnTo>
                  <a:lnTo>
                    <a:pt x="163071" y="62048"/>
                  </a:lnTo>
                  <a:lnTo>
                    <a:pt x="186110" y="63132"/>
                  </a:lnTo>
                  <a:lnTo>
                    <a:pt x="219480" y="70694"/>
                  </a:lnTo>
                  <a:lnTo>
                    <a:pt x="241917" y="49693"/>
                  </a:lnTo>
                  <a:lnTo>
                    <a:pt x="232546" y="31806"/>
                  </a:lnTo>
                  <a:lnTo>
                    <a:pt x="256453" y="0"/>
                  </a:lnTo>
                  <a:lnTo>
                    <a:pt x="282311" y="12734"/>
                  </a:lnTo>
                  <a:lnTo>
                    <a:pt x="303264" y="16332"/>
                  </a:lnTo>
                  <a:lnTo>
                    <a:pt x="330404" y="24203"/>
                  </a:lnTo>
                  <a:lnTo>
                    <a:pt x="334805" y="47022"/>
                  </a:lnTo>
                  <a:lnTo>
                    <a:pt x="367598" y="59740"/>
                  </a:lnTo>
                  <a:lnTo>
                    <a:pt x="389411" y="54143"/>
                  </a:lnTo>
                  <a:lnTo>
                    <a:pt x="418612" y="50189"/>
                  </a:lnTo>
                  <a:lnTo>
                    <a:pt x="441745" y="54174"/>
                  </a:lnTo>
                  <a:lnTo>
                    <a:pt x="464352" y="68661"/>
                  </a:lnTo>
                  <a:lnTo>
                    <a:pt x="478362" y="83981"/>
                  </a:lnTo>
                  <a:lnTo>
                    <a:pt x="499767" y="83670"/>
                  </a:lnTo>
                  <a:lnTo>
                    <a:pt x="528841" y="88532"/>
                  </a:lnTo>
                  <a:lnTo>
                    <a:pt x="550059" y="81128"/>
                  </a:lnTo>
                  <a:lnTo>
                    <a:pt x="580448" y="76169"/>
                  </a:lnTo>
                  <a:lnTo>
                    <a:pt x="614257" y="54960"/>
                  </a:lnTo>
                  <a:lnTo>
                    <a:pt x="628099" y="58223"/>
                  </a:lnTo>
                  <a:lnTo>
                    <a:pt x="640184" y="68316"/>
                  </a:lnTo>
                  <a:lnTo>
                    <a:pt x="667724" y="65809"/>
                  </a:lnTo>
                  <a:lnTo>
                    <a:pt x="656483" y="88398"/>
                  </a:lnTo>
                  <a:lnTo>
                    <a:pt x="640175" y="118039"/>
                  </a:lnTo>
                  <a:lnTo>
                    <a:pt x="646120" y="130072"/>
                  </a:lnTo>
                  <a:lnTo>
                    <a:pt x="659188" y="126344"/>
                  </a:lnTo>
                  <a:lnTo>
                    <a:pt x="681960" y="130918"/>
                  </a:lnTo>
                  <a:lnTo>
                    <a:pt x="699702" y="120063"/>
                  </a:lnTo>
                  <a:lnTo>
                    <a:pt x="718224" y="129469"/>
                  </a:lnTo>
                  <a:lnTo>
                    <a:pt x="739143" y="149922"/>
                  </a:lnTo>
                  <a:lnTo>
                    <a:pt x="736614" y="160261"/>
                  </a:lnTo>
                  <a:lnTo>
                    <a:pt x="718403" y="156985"/>
                  </a:lnTo>
                  <a:lnTo>
                    <a:pt x="684872" y="160840"/>
                  </a:lnTo>
                  <a:lnTo>
                    <a:pt x="668626" y="169088"/>
                  </a:lnTo>
                  <a:lnTo>
                    <a:pt x="651712" y="188154"/>
                  </a:lnTo>
                  <a:lnTo>
                    <a:pt x="616517" y="199268"/>
                  </a:lnTo>
                  <a:lnTo>
                    <a:pt x="593516" y="214428"/>
                  </a:lnTo>
                  <a:lnTo>
                    <a:pt x="569791" y="208648"/>
                  </a:lnTo>
                  <a:lnTo>
                    <a:pt x="556801" y="206066"/>
                  </a:lnTo>
                  <a:lnTo>
                    <a:pt x="544684" y="224418"/>
                  </a:lnTo>
                  <a:lnTo>
                    <a:pt x="552055" y="235301"/>
                  </a:lnTo>
                  <a:lnTo>
                    <a:pt x="555792" y="244617"/>
                  </a:lnTo>
                  <a:lnTo>
                    <a:pt x="539636" y="254076"/>
                  </a:lnTo>
                  <a:lnTo>
                    <a:pt x="523072" y="269080"/>
                  </a:lnTo>
                  <a:lnTo>
                    <a:pt x="496100" y="278893"/>
                  </a:lnTo>
                  <a:lnTo>
                    <a:pt x="461503" y="279949"/>
                  </a:lnTo>
                  <a:lnTo>
                    <a:pt x="424214" y="289598"/>
                  </a:lnTo>
                  <a:lnTo>
                    <a:pt x="397339" y="304459"/>
                  </a:lnTo>
                  <a:lnTo>
                    <a:pt x="387120" y="295862"/>
                  </a:lnTo>
                  <a:lnTo>
                    <a:pt x="359189" y="295886"/>
                  </a:lnTo>
                  <a:lnTo>
                    <a:pt x="325045" y="279020"/>
                  </a:lnTo>
                  <a:lnTo>
                    <a:pt x="302258" y="274870"/>
                  </a:lnTo>
                  <a:lnTo>
                    <a:pt x="271557" y="278747"/>
                  </a:lnTo>
                  <a:lnTo>
                    <a:pt x="223913" y="272496"/>
                  </a:lnTo>
                  <a:lnTo>
                    <a:pt x="198467" y="273145"/>
                  </a:lnTo>
                  <a:lnTo>
                    <a:pt x="184919" y="256529"/>
                  </a:lnTo>
                  <a:lnTo>
                    <a:pt x="174403" y="230544"/>
                  </a:lnTo>
                  <a:lnTo>
                    <a:pt x="160139" y="227399"/>
                  </a:lnTo>
                  <a:lnTo>
                    <a:pt x="132251" y="209680"/>
                  </a:lnTo>
                  <a:lnTo>
                    <a:pt x="101162" y="205695"/>
                  </a:lnTo>
                  <a:lnTo>
                    <a:pt x="73732" y="200806"/>
                  </a:lnTo>
                  <a:lnTo>
                    <a:pt x="65427" y="188370"/>
                  </a:lnTo>
                  <a:lnTo>
                    <a:pt x="74315" y="154579"/>
                  </a:lnTo>
                  <a:lnTo>
                    <a:pt x="58388" y="131040"/>
                  </a:lnTo>
                  <a:lnTo>
                    <a:pt x="25461" y="119994"/>
                  </a:lnTo>
                  <a:lnTo>
                    <a:pt x="6060" y="10431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18" name="Freeform 116">
              <a:extLst>
                <a:ext uri="{FF2B5EF4-FFF2-40B4-BE49-F238E27FC236}">
                  <a16:creationId xmlns:a16="http://schemas.microsoft.com/office/drawing/2014/main" id="{4E4C5EF7-85DF-8344-8AA4-F1BCA75BD3D2}"/>
                </a:ext>
              </a:extLst>
            </p:cNvPr>
            <p:cNvSpPr>
              <a:spLocks noChangeAspect="1"/>
            </p:cNvSpPr>
            <p:nvPr>
              <p:custDataLst>
                <p:tags r:id="rId122"/>
              </p:custDataLst>
            </p:nvPr>
          </p:nvSpPr>
          <p:spPr>
            <a:xfrm>
              <a:off x="5057310" y="4766945"/>
              <a:ext cx="244584" cy="393173"/>
            </a:xfrm>
            <a:custGeom>
              <a:avLst/>
              <a:gdLst/>
              <a:ahLst/>
              <a:cxnLst/>
              <a:rect l="0" t="0" r="0" b="0"/>
              <a:pathLst>
                <a:path w="244584" h="393173">
                  <a:moveTo>
                    <a:pt x="101114" y="28093"/>
                  </a:moveTo>
                  <a:lnTo>
                    <a:pt x="118481" y="26202"/>
                  </a:lnTo>
                  <a:lnTo>
                    <a:pt x="146219" y="32792"/>
                  </a:lnTo>
                  <a:lnTo>
                    <a:pt x="152245" y="29835"/>
                  </a:lnTo>
                  <a:lnTo>
                    <a:pt x="168314" y="29232"/>
                  </a:lnTo>
                  <a:lnTo>
                    <a:pt x="176540" y="22219"/>
                  </a:lnTo>
                  <a:lnTo>
                    <a:pt x="190387" y="22603"/>
                  </a:lnTo>
                  <a:lnTo>
                    <a:pt x="215627" y="13530"/>
                  </a:lnTo>
                  <a:lnTo>
                    <a:pt x="233991" y="0"/>
                  </a:lnTo>
                  <a:lnTo>
                    <a:pt x="237726" y="10462"/>
                  </a:lnTo>
                  <a:lnTo>
                    <a:pt x="236777" y="33746"/>
                  </a:lnTo>
                  <a:lnTo>
                    <a:pt x="239628" y="54298"/>
                  </a:lnTo>
                  <a:lnTo>
                    <a:pt x="240524" y="91015"/>
                  </a:lnTo>
                  <a:lnTo>
                    <a:pt x="244583" y="102555"/>
                  </a:lnTo>
                  <a:lnTo>
                    <a:pt x="237700" y="119419"/>
                  </a:lnTo>
                  <a:lnTo>
                    <a:pt x="228744" y="135845"/>
                  </a:lnTo>
                  <a:lnTo>
                    <a:pt x="214047" y="150543"/>
                  </a:lnTo>
                  <a:lnTo>
                    <a:pt x="192945" y="159568"/>
                  </a:lnTo>
                  <a:lnTo>
                    <a:pt x="166925" y="171108"/>
                  </a:lnTo>
                  <a:lnTo>
                    <a:pt x="140846" y="196698"/>
                  </a:lnTo>
                  <a:lnTo>
                    <a:pt x="131964" y="201061"/>
                  </a:lnTo>
                  <a:lnTo>
                    <a:pt x="115850" y="218070"/>
                  </a:lnTo>
                  <a:lnTo>
                    <a:pt x="106339" y="223615"/>
                  </a:lnTo>
                  <a:lnTo>
                    <a:pt x="104389" y="240746"/>
                  </a:lnTo>
                  <a:lnTo>
                    <a:pt x="115336" y="258997"/>
                  </a:lnTo>
                  <a:lnTo>
                    <a:pt x="119890" y="273171"/>
                  </a:lnTo>
                  <a:lnTo>
                    <a:pt x="120177" y="280416"/>
                  </a:lnTo>
                  <a:lnTo>
                    <a:pt x="124255" y="279204"/>
                  </a:lnTo>
                  <a:lnTo>
                    <a:pt x="123595" y="303017"/>
                  </a:lnTo>
                  <a:lnTo>
                    <a:pt x="119852" y="314335"/>
                  </a:lnTo>
                  <a:lnTo>
                    <a:pt x="125292" y="318512"/>
                  </a:lnTo>
                  <a:lnTo>
                    <a:pt x="121859" y="328677"/>
                  </a:lnTo>
                  <a:lnTo>
                    <a:pt x="112211" y="337385"/>
                  </a:lnTo>
                  <a:lnTo>
                    <a:pt x="93169" y="345672"/>
                  </a:lnTo>
                  <a:lnTo>
                    <a:pt x="65410" y="358973"/>
                  </a:lnTo>
                  <a:lnTo>
                    <a:pt x="55286" y="368081"/>
                  </a:lnTo>
                  <a:lnTo>
                    <a:pt x="57265" y="378479"/>
                  </a:lnTo>
                  <a:lnTo>
                    <a:pt x="63165" y="380142"/>
                  </a:lnTo>
                  <a:lnTo>
                    <a:pt x="61183" y="393172"/>
                  </a:lnTo>
                  <a:lnTo>
                    <a:pt x="43676" y="392964"/>
                  </a:lnTo>
                  <a:lnTo>
                    <a:pt x="41694" y="382019"/>
                  </a:lnTo>
                  <a:lnTo>
                    <a:pt x="38277" y="370942"/>
                  </a:lnTo>
                  <a:lnTo>
                    <a:pt x="36307" y="362092"/>
                  </a:lnTo>
                  <a:lnTo>
                    <a:pt x="40420" y="334716"/>
                  </a:lnTo>
                  <a:lnTo>
                    <a:pt x="34414" y="317350"/>
                  </a:lnTo>
                  <a:lnTo>
                    <a:pt x="23358" y="283118"/>
                  </a:lnTo>
                  <a:lnTo>
                    <a:pt x="47677" y="255670"/>
                  </a:lnTo>
                  <a:lnTo>
                    <a:pt x="53764" y="238299"/>
                  </a:lnTo>
                  <a:lnTo>
                    <a:pt x="57251" y="236110"/>
                  </a:lnTo>
                  <a:lnTo>
                    <a:pt x="59858" y="221973"/>
                  </a:lnTo>
                  <a:lnTo>
                    <a:pt x="56148" y="214873"/>
                  </a:lnTo>
                  <a:lnTo>
                    <a:pt x="57139" y="196995"/>
                  </a:lnTo>
                  <a:lnTo>
                    <a:pt x="61639" y="180459"/>
                  </a:lnTo>
                  <a:lnTo>
                    <a:pt x="61588" y="150366"/>
                  </a:lnTo>
                  <a:lnTo>
                    <a:pt x="49599" y="142746"/>
                  </a:lnTo>
                  <a:lnTo>
                    <a:pt x="38607" y="141024"/>
                  </a:lnTo>
                  <a:lnTo>
                    <a:pt x="33632" y="135164"/>
                  </a:lnTo>
                  <a:lnTo>
                    <a:pt x="22934" y="130168"/>
                  </a:lnTo>
                  <a:lnTo>
                    <a:pt x="3681" y="130639"/>
                  </a:lnTo>
                  <a:lnTo>
                    <a:pt x="2187" y="121817"/>
                  </a:lnTo>
                  <a:lnTo>
                    <a:pt x="0" y="105015"/>
                  </a:lnTo>
                  <a:lnTo>
                    <a:pt x="70045" y="85599"/>
                  </a:lnTo>
                  <a:lnTo>
                    <a:pt x="83333" y="96900"/>
                  </a:lnTo>
                  <a:lnTo>
                    <a:pt x="89684" y="94735"/>
                  </a:lnTo>
                  <a:lnTo>
                    <a:pt x="98797" y="100698"/>
                  </a:lnTo>
                  <a:lnTo>
                    <a:pt x="100136" y="110149"/>
                  </a:lnTo>
                  <a:lnTo>
                    <a:pt x="95281" y="121128"/>
                  </a:lnTo>
                  <a:lnTo>
                    <a:pt x="96989" y="137806"/>
                  </a:lnTo>
                  <a:lnTo>
                    <a:pt x="112050" y="152451"/>
                  </a:lnTo>
                  <a:lnTo>
                    <a:pt x="119097" y="136003"/>
                  </a:lnTo>
                  <a:lnTo>
                    <a:pt x="129088" y="131018"/>
                  </a:lnTo>
                  <a:lnTo>
                    <a:pt x="127124" y="100652"/>
                  </a:lnTo>
                  <a:lnTo>
                    <a:pt x="117455" y="83622"/>
                  </a:lnTo>
                  <a:lnTo>
                    <a:pt x="109127" y="76041"/>
                  </a:lnTo>
                  <a:lnTo>
                    <a:pt x="101114" y="76384"/>
                  </a:lnTo>
                  <a:lnTo>
                    <a:pt x="94651" y="4588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19" name="Freeform 117">
              <a:extLst>
                <a:ext uri="{FF2B5EF4-FFF2-40B4-BE49-F238E27FC236}">
                  <a16:creationId xmlns:a16="http://schemas.microsoft.com/office/drawing/2014/main" id="{1B858CC3-746A-D64A-B654-013C44CECB7A}"/>
                </a:ext>
              </a:extLst>
            </p:cNvPr>
            <p:cNvSpPr>
              <a:spLocks noChangeAspect="1"/>
            </p:cNvSpPr>
            <p:nvPr>
              <p:custDataLst>
                <p:tags r:id="rId123"/>
              </p:custDataLst>
            </p:nvPr>
          </p:nvSpPr>
          <p:spPr>
            <a:xfrm>
              <a:off x="3966817" y="3879593"/>
              <a:ext cx="280227" cy="308616"/>
            </a:xfrm>
            <a:custGeom>
              <a:avLst/>
              <a:gdLst/>
              <a:ahLst/>
              <a:cxnLst/>
              <a:rect l="0" t="0" r="0" b="0"/>
              <a:pathLst>
                <a:path w="280227" h="308616">
                  <a:moveTo>
                    <a:pt x="112936" y="308615"/>
                  </a:moveTo>
                  <a:lnTo>
                    <a:pt x="97704" y="292408"/>
                  </a:lnTo>
                  <a:lnTo>
                    <a:pt x="83737" y="275012"/>
                  </a:lnTo>
                  <a:lnTo>
                    <a:pt x="68415" y="268737"/>
                  </a:lnTo>
                  <a:lnTo>
                    <a:pt x="57385" y="261769"/>
                  </a:lnTo>
                  <a:lnTo>
                    <a:pt x="44496" y="262029"/>
                  </a:lnTo>
                  <a:lnTo>
                    <a:pt x="33233" y="267196"/>
                  </a:lnTo>
                  <a:lnTo>
                    <a:pt x="21761" y="265150"/>
                  </a:lnTo>
                  <a:lnTo>
                    <a:pt x="13857" y="272747"/>
                  </a:lnTo>
                  <a:lnTo>
                    <a:pt x="11858" y="259975"/>
                  </a:lnTo>
                  <a:lnTo>
                    <a:pt x="18302" y="248268"/>
                  </a:lnTo>
                  <a:lnTo>
                    <a:pt x="21169" y="225859"/>
                  </a:lnTo>
                  <a:lnTo>
                    <a:pt x="18617" y="202256"/>
                  </a:lnTo>
                  <a:lnTo>
                    <a:pt x="15829" y="190350"/>
                  </a:lnTo>
                  <a:lnTo>
                    <a:pt x="18134" y="178382"/>
                  </a:lnTo>
                  <a:lnTo>
                    <a:pt x="12167" y="166953"/>
                  </a:lnTo>
                  <a:lnTo>
                    <a:pt x="0" y="156548"/>
                  </a:lnTo>
                  <a:lnTo>
                    <a:pt x="5037" y="148500"/>
                  </a:lnTo>
                  <a:lnTo>
                    <a:pt x="95431" y="148651"/>
                  </a:lnTo>
                  <a:lnTo>
                    <a:pt x="91054" y="113671"/>
                  </a:lnTo>
                  <a:lnTo>
                    <a:pt x="96698" y="101174"/>
                  </a:lnTo>
                  <a:lnTo>
                    <a:pt x="118326" y="98987"/>
                  </a:lnTo>
                  <a:lnTo>
                    <a:pt x="117583" y="36239"/>
                  </a:lnTo>
                  <a:lnTo>
                    <a:pt x="193343" y="37530"/>
                  </a:lnTo>
                  <a:lnTo>
                    <a:pt x="193410" y="0"/>
                  </a:lnTo>
                  <a:lnTo>
                    <a:pt x="280226" y="59846"/>
                  </a:lnTo>
                  <a:lnTo>
                    <a:pt x="244899" y="60288"/>
                  </a:lnTo>
                  <a:lnTo>
                    <a:pt x="256040" y="165196"/>
                  </a:lnTo>
                  <a:lnTo>
                    <a:pt x="267180" y="268245"/>
                  </a:lnTo>
                  <a:lnTo>
                    <a:pt x="271179" y="271164"/>
                  </a:lnTo>
                  <a:lnTo>
                    <a:pt x="266044" y="287730"/>
                  </a:lnTo>
                  <a:lnTo>
                    <a:pt x="173424" y="288089"/>
                  </a:lnTo>
                  <a:lnTo>
                    <a:pt x="169962" y="293343"/>
                  </a:lnTo>
                  <a:lnTo>
                    <a:pt x="161038" y="291775"/>
                  </a:lnTo>
                  <a:lnTo>
                    <a:pt x="148021" y="296445"/>
                  </a:lnTo>
                  <a:lnTo>
                    <a:pt x="131902" y="289867"/>
                  </a:lnTo>
                  <a:lnTo>
                    <a:pt x="124585" y="290412"/>
                  </a:lnTo>
                  <a:lnTo>
                    <a:pt x="120704" y="304318"/>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20" name="Freeform 118">
              <a:extLst>
                <a:ext uri="{FF2B5EF4-FFF2-40B4-BE49-F238E27FC236}">
                  <a16:creationId xmlns:a16="http://schemas.microsoft.com/office/drawing/2014/main" id="{2C285684-B66B-F24A-B42D-4F5088FF3AD8}"/>
                </a:ext>
              </a:extLst>
            </p:cNvPr>
            <p:cNvSpPr>
              <a:spLocks noChangeAspect="1"/>
            </p:cNvSpPr>
            <p:nvPr>
              <p:custDataLst>
                <p:tags r:id="rId124"/>
              </p:custDataLst>
            </p:nvPr>
          </p:nvSpPr>
          <p:spPr>
            <a:xfrm>
              <a:off x="5115217" y="4741630"/>
              <a:ext cx="71182" cy="177767"/>
            </a:xfrm>
            <a:custGeom>
              <a:avLst/>
              <a:gdLst/>
              <a:ahLst/>
              <a:cxnLst/>
              <a:rect l="0" t="0" r="0" b="0"/>
              <a:pathLst>
                <a:path w="71182" h="177767">
                  <a:moveTo>
                    <a:pt x="43207" y="53408"/>
                  </a:moveTo>
                  <a:lnTo>
                    <a:pt x="36744" y="71196"/>
                  </a:lnTo>
                  <a:lnTo>
                    <a:pt x="43207" y="101699"/>
                  </a:lnTo>
                  <a:lnTo>
                    <a:pt x="51220" y="101356"/>
                  </a:lnTo>
                  <a:lnTo>
                    <a:pt x="59548" y="108937"/>
                  </a:lnTo>
                  <a:lnTo>
                    <a:pt x="69217" y="125967"/>
                  </a:lnTo>
                  <a:lnTo>
                    <a:pt x="71181" y="156333"/>
                  </a:lnTo>
                  <a:lnTo>
                    <a:pt x="61190" y="161318"/>
                  </a:lnTo>
                  <a:lnTo>
                    <a:pt x="54143" y="177766"/>
                  </a:lnTo>
                  <a:lnTo>
                    <a:pt x="39082" y="163121"/>
                  </a:lnTo>
                  <a:lnTo>
                    <a:pt x="37374" y="146443"/>
                  </a:lnTo>
                  <a:lnTo>
                    <a:pt x="42229" y="135464"/>
                  </a:lnTo>
                  <a:lnTo>
                    <a:pt x="40890" y="126013"/>
                  </a:lnTo>
                  <a:lnTo>
                    <a:pt x="31777" y="120050"/>
                  </a:lnTo>
                  <a:lnTo>
                    <a:pt x="25426" y="122215"/>
                  </a:lnTo>
                  <a:lnTo>
                    <a:pt x="12138" y="110914"/>
                  </a:lnTo>
                  <a:lnTo>
                    <a:pt x="0" y="104822"/>
                  </a:lnTo>
                  <a:lnTo>
                    <a:pt x="7008" y="83006"/>
                  </a:lnTo>
                  <a:lnTo>
                    <a:pt x="14271" y="74845"/>
                  </a:lnTo>
                  <a:lnTo>
                    <a:pt x="9836" y="55447"/>
                  </a:lnTo>
                  <a:lnTo>
                    <a:pt x="14476" y="36503"/>
                  </a:lnTo>
                  <a:lnTo>
                    <a:pt x="18409" y="30178"/>
                  </a:lnTo>
                  <a:lnTo>
                    <a:pt x="12539" y="10388"/>
                  </a:lnTo>
                  <a:lnTo>
                    <a:pt x="1644" y="0"/>
                  </a:lnTo>
                  <a:lnTo>
                    <a:pt x="24273" y="4343"/>
                  </a:lnTo>
                  <a:lnTo>
                    <a:pt x="28915" y="10783"/>
                  </a:lnTo>
                  <a:lnTo>
                    <a:pt x="36744" y="2165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21" name="Freeform 119">
              <a:extLst>
                <a:ext uri="{FF2B5EF4-FFF2-40B4-BE49-F238E27FC236}">
                  <a16:creationId xmlns:a16="http://schemas.microsoft.com/office/drawing/2014/main" id="{F5BF3E6B-DE9E-8A45-8C95-4B6D6E696BB3}"/>
                </a:ext>
              </a:extLst>
            </p:cNvPr>
            <p:cNvSpPr>
              <a:spLocks noChangeAspect="1"/>
            </p:cNvSpPr>
            <p:nvPr>
              <p:custDataLst>
                <p:tags r:id="rId125"/>
              </p:custDataLst>
            </p:nvPr>
          </p:nvSpPr>
          <p:spPr>
            <a:xfrm>
              <a:off x="6670933" y="4367803"/>
              <a:ext cx="440791" cy="142321"/>
            </a:xfrm>
            <a:custGeom>
              <a:avLst/>
              <a:gdLst/>
              <a:ahLst/>
              <a:cxnLst/>
              <a:rect l="l" t="t" r="r" b="b"/>
              <a:pathLst>
                <a:path w="440791" h="142321">
                  <a:moveTo>
                    <a:pt x="4013" y="6613"/>
                  </a:moveTo>
                  <a:lnTo>
                    <a:pt x="22847" y="16763"/>
                  </a:lnTo>
                  <a:lnTo>
                    <a:pt x="24664" y="28657"/>
                  </a:lnTo>
                  <a:lnTo>
                    <a:pt x="39899" y="25891"/>
                  </a:lnTo>
                  <a:lnTo>
                    <a:pt x="47445" y="16375"/>
                  </a:lnTo>
                  <a:lnTo>
                    <a:pt x="52753" y="18539"/>
                  </a:lnTo>
                  <a:lnTo>
                    <a:pt x="66385" y="32521"/>
                  </a:lnTo>
                  <a:lnTo>
                    <a:pt x="76068" y="48015"/>
                  </a:lnTo>
                  <a:lnTo>
                    <a:pt x="77392" y="63590"/>
                  </a:lnTo>
                  <a:lnTo>
                    <a:pt x="74935" y="74106"/>
                  </a:lnTo>
                  <a:lnTo>
                    <a:pt x="77181" y="82053"/>
                  </a:lnTo>
                  <a:lnTo>
                    <a:pt x="78867" y="95727"/>
                  </a:lnTo>
                  <a:lnTo>
                    <a:pt x="86997" y="102092"/>
                  </a:lnTo>
                  <a:lnTo>
                    <a:pt x="96075" y="122513"/>
                  </a:lnTo>
                  <a:lnTo>
                    <a:pt x="95634" y="130319"/>
                  </a:lnTo>
                  <a:lnTo>
                    <a:pt x="79265" y="131859"/>
                  </a:lnTo>
                  <a:lnTo>
                    <a:pt x="57427" y="114756"/>
                  </a:lnTo>
                  <a:lnTo>
                    <a:pt x="30121" y="96425"/>
                  </a:lnTo>
                  <a:lnTo>
                    <a:pt x="27418" y="84654"/>
                  </a:lnTo>
                  <a:lnTo>
                    <a:pt x="14074" y="69196"/>
                  </a:lnTo>
                  <a:lnTo>
                    <a:pt x="10888" y="50045"/>
                  </a:lnTo>
                  <a:lnTo>
                    <a:pt x="2562" y="37428"/>
                  </a:lnTo>
                  <a:lnTo>
                    <a:pt x="5091" y="20570"/>
                  </a:lnTo>
                  <a:lnTo>
                    <a:pt x="0" y="10747"/>
                  </a:lnTo>
                  <a:close/>
                  <a:moveTo>
                    <a:pt x="393419" y="0"/>
                  </a:moveTo>
                  <a:lnTo>
                    <a:pt x="405278" y="11728"/>
                  </a:lnTo>
                  <a:lnTo>
                    <a:pt x="406333" y="21799"/>
                  </a:lnTo>
                  <a:lnTo>
                    <a:pt x="421535" y="28256"/>
                  </a:lnTo>
                  <a:lnTo>
                    <a:pt x="440791" y="35222"/>
                  </a:lnTo>
                  <a:lnTo>
                    <a:pt x="439147" y="44287"/>
                  </a:lnTo>
                  <a:lnTo>
                    <a:pt x="423660" y="45435"/>
                  </a:lnTo>
                  <a:lnTo>
                    <a:pt x="427782" y="56731"/>
                  </a:lnTo>
                  <a:lnTo>
                    <a:pt x="410786" y="64609"/>
                  </a:lnTo>
                  <a:lnTo>
                    <a:pt x="390778" y="60712"/>
                  </a:lnTo>
                  <a:lnTo>
                    <a:pt x="364240" y="60701"/>
                  </a:lnTo>
                  <a:lnTo>
                    <a:pt x="356243" y="86989"/>
                  </a:lnTo>
                  <a:lnTo>
                    <a:pt x="347355" y="95023"/>
                  </a:lnTo>
                  <a:lnTo>
                    <a:pt x="335521" y="127141"/>
                  </a:lnTo>
                  <a:lnTo>
                    <a:pt x="316697" y="132062"/>
                  </a:lnTo>
                  <a:lnTo>
                    <a:pt x="294860" y="125592"/>
                  </a:lnTo>
                  <a:lnTo>
                    <a:pt x="283791" y="127616"/>
                  </a:lnTo>
                  <a:lnTo>
                    <a:pt x="270340" y="139290"/>
                  </a:lnTo>
                  <a:lnTo>
                    <a:pt x="255604" y="137627"/>
                  </a:lnTo>
                  <a:lnTo>
                    <a:pt x="240713" y="142321"/>
                  </a:lnTo>
                  <a:lnTo>
                    <a:pt x="224929" y="129278"/>
                  </a:lnTo>
                  <a:lnTo>
                    <a:pt x="221075" y="113847"/>
                  </a:lnTo>
                  <a:lnTo>
                    <a:pt x="237992" y="121760"/>
                  </a:lnTo>
                  <a:lnTo>
                    <a:pt x="255828" y="117445"/>
                  </a:lnTo>
                  <a:lnTo>
                    <a:pt x="260473" y="97892"/>
                  </a:lnTo>
                  <a:lnTo>
                    <a:pt x="270325" y="93536"/>
                  </a:lnTo>
                  <a:lnTo>
                    <a:pt x="297994" y="88534"/>
                  </a:lnTo>
                  <a:lnTo>
                    <a:pt x="314552" y="70251"/>
                  </a:lnTo>
                  <a:lnTo>
                    <a:pt x="325888" y="55629"/>
                  </a:lnTo>
                  <a:lnTo>
                    <a:pt x="336404" y="67612"/>
                  </a:lnTo>
                  <a:lnTo>
                    <a:pt x="341251" y="59735"/>
                  </a:lnTo>
                  <a:lnTo>
                    <a:pt x="352282" y="60468"/>
                  </a:lnTo>
                  <a:lnTo>
                    <a:pt x="353626" y="45696"/>
                  </a:lnTo>
                  <a:lnTo>
                    <a:pt x="354665" y="34298"/>
                  </a:lnTo>
                  <a:lnTo>
                    <a:pt x="372439" y="18192"/>
                  </a:lnTo>
                  <a:lnTo>
                    <a:pt x="384081" y="7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22" name="Freeform 120">
              <a:extLst>
                <a:ext uri="{FF2B5EF4-FFF2-40B4-BE49-F238E27FC236}">
                  <a16:creationId xmlns:a16="http://schemas.microsoft.com/office/drawing/2014/main" id="{937C0607-96DC-644A-BBEF-BB70C2A8B887}"/>
                </a:ext>
              </a:extLst>
            </p:cNvPr>
            <p:cNvSpPr>
              <a:spLocks noChangeAspect="1"/>
            </p:cNvSpPr>
            <p:nvPr>
              <p:custDataLst>
                <p:tags r:id="rId126"/>
              </p:custDataLst>
            </p:nvPr>
          </p:nvSpPr>
          <p:spPr>
            <a:xfrm>
              <a:off x="4631543" y="4922721"/>
              <a:ext cx="308160" cy="294870"/>
            </a:xfrm>
            <a:custGeom>
              <a:avLst/>
              <a:gdLst/>
              <a:ahLst/>
              <a:cxnLst/>
              <a:rect l="0" t="0" r="0" b="0"/>
              <a:pathLst>
                <a:path w="308160" h="294870">
                  <a:moveTo>
                    <a:pt x="106429" y="283110"/>
                  </a:moveTo>
                  <a:lnTo>
                    <a:pt x="89275" y="264227"/>
                  </a:lnTo>
                  <a:lnTo>
                    <a:pt x="80242" y="246050"/>
                  </a:lnTo>
                  <a:lnTo>
                    <a:pt x="75146" y="221932"/>
                  </a:lnTo>
                  <a:lnTo>
                    <a:pt x="69456" y="204067"/>
                  </a:lnTo>
                  <a:lnTo>
                    <a:pt x="61722" y="166311"/>
                  </a:lnTo>
                  <a:lnTo>
                    <a:pt x="61204" y="137173"/>
                  </a:lnTo>
                  <a:lnTo>
                    <a:pt x="58250" y="123942"/>
                  </a:lnTo>
                  <a:lnTo>
                    <a:pt x="49269" y="113965"/>
                  </a:lnTo>
                  <a:lnTo>
                    <a:pt x="37355" y="94019"/>
                  </a:lnTo>
                  <a:lnTo>
                    <a:pt x="25221" y="65180"/>
                  </a:lnTo>
                  <a:lnTo>
                    <a:pt x="20183" y="50142"/>
                  </a:lnTo>
                  <a:lnTo>
                    <a:pt x="1402" y="26830"/>
                  </a:lnTo>
                  <a:lnTo>
                    <a:pt x="0" y="8566"/>
                  </a:lnTo>
                  <a:lnTo>
                    <a:pt x="11109" y="4045"/>
                  </a:lnTo>
                  <a:lnTo>
                    <a:pt x="24927" y="0"/>
                  </a:lnTo>
                  <a:lnTo>
                    <a:pt x="39891" y="709"/>
                  </a:lnTo>
                  <a:lnTo>
                    <a:pt x="53651" y="11455"/>
                  </a:lnTo>
                  <a:lnTo>
                    <a:pt x="57141" y="9783"/>
                  </a:lnTo>
                  <a:lnTo>
                    <a:pt x="150710" y="8757"/>
                  </a:lnTo>
                  <a:lnTo>
                    <a:pt x="166703" y="20158"/>
                  </a:lnTo>
                  <a:lnTo>
                    <a:pt x="222586" y="23529"/>
                  </a:lnTo>
                  <a:lnTo>
                    <a:pt x="265009" y="13827"/>
                  </a:lnTo>
                  <a:lnTo>
                    <a:pt x="283909" y="8422"/>
                  </a:lnTo>
                  <a:lnTo>
                    <a:pt x="298878" y="9791"/>
                  </a:lnTo>
                  <a:lnTo>
                    <a:pt x="307987" y="15152"/>
                  </a:lnTo>
                  <a:lnTo>
                    <a:pt x="308159" y="17127"/>
                  </a:lnTo>
                  <a:lnTo>
                    <a:pt x="295147" y="22493"/>
                  </a:lnTo>
                  <a:lnTo>
                    <a:pt x="288145" y="22546"/>
                  </a:lnTo>
                  <a:lnTo>
                    <a:pt x="273410" y="31889"/>
                  </a:lnTo>
                  <a:lnTo>
                    <a:pt x="264589" y="22062"/>
                  </a:lnTo>
                  <a:lnTo>
                    <a:pt x="229000" y="30407"/>
                  </a:lnTo>
                  <a:lnTo>
                    <a:pt x="211817" y="31196"/>
                  </a:lnTo>
                  <a:lnTo>
                    <a:pt x="211136" y="116754"/>
                  </a:lnTo>
                  <a:lnTo>
                    <a:pt x="188384" y="117597"/>
                  </a:lnTo>
                  <a:lnTo>
                    <a:pt x="188391" y="188705"/>
                  </a:lnTo>
                  <a:lnTo>
                    <a:pt x="188367" y="280215"/>
                  </a:lnTo>
                  <a:lnTo>
                    <a:pt x="167763" y="293035"/>
                  </a:lnTo>
                  <a:lnTo>
                    <a:pt x="155363" y="294869"/>
                  </a:lnTo>
                  <a:lnTo>
                    <a:pt x="140849" y="290121"/>
                  </a:lnTo>
                  <a:lnTo>
                    <a:pt x="130493" y="288293"/>
                  </a:lnTo>
                  <a:lnTo>
                    <a:pt x="126603" y="277583"/>
                  </a:lnTo>
                  <a:lnTo>
                    <a:pt x="117487" y="27073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23" name="Freeform 121">
              <a:extLst>
                <a:ext uri="{FF2B5EF4-FFF2-40B4-BE49-F238E27FC236}">
                  <a16:creationId xmlns:a16="http://schemas.microsoft.com/office/drawing/2014/main" id="{CBC03BF0-80F5-814A-A94F-CA56D9D7A81F}"/>
                </a:ext>
              </a:extLst>
            </p:cNvPr>
            <p:cNvSpPr>
              <a:spLocks noChangeAspect="1"/>
            </p:cNvSpPr>
            <p:nvPr>
              <p:custDataLst>
                <p:tags r:id="rId127"/>
              </p:custDataLst>
            </p:nvPr>
          </p:nvSpPr>
          <p:spPr>
            <a:xfrm>
              <a:off x="4367511" y="3976214"/>
              <a:ext cx="360266" cy="281413"/>
            </a:xfrm>
            <a:custGeom>
              <a:avLst/>
              <a:gdLst/>
              <a:ahLst/>
              <a:cxnLst/>
              <a:rect l="0" t="0" r="0" b="0"/>
              <a:pathLst>
                <a:path w="360266" h="281413">
                  <a:moveTo>
                    <a:pt x="42907" y="274860"/>
                  </a:moveTo>
                  <a:lnTo>
                    <a:pt x="43429" y="258816"/>
                  </a:lnTo>
                  <a:lnTo>
                    <a:pt x="16814" y="253497"/>
                  </a:lnTo>
                  <a:lnTo>
                    <a:pt x="16098" y="242137"/>
                  </a:lnTo>
                  <a:lnTo>
                    <a:pt x="3099" y="226786"/>
                  </a:lnTo>
                  <a:lnTo>
                    <a:pt x="0" y="216062"/>
                  </a:lnTo>
                  <a:lnTo>
                    <a:pt x="1829" y="204635"/>
                  </a:lnTo>
                  <a:lnTo>
                    <a:pt x="16623" y="203708"/>
                  </a:lnTo>
                  <a:lnTo>
                    <a:pt x="25157" y="195318"/>
                  </a:lnTo>
                  <a:lnTo>
                    <a:pt x="56653" y="193287"/>
                  </a:lnTo>
                  <a:lnTo>
                    <a:pt x="77156" y="189539"/>
                  </a:lnTo>
                  <a:lnTo>
                    <a:pt x="79122" y="174959"/>
                  </a:lnTo>
                  <a:lnTo>
                    <a:pt x="91743" y="159122"/>
                  </a:lnTo>
                  <a:lnTo>
                    <a:pt x="91679" y="104234"/>
                  </a:lnTo>
                  <a:lnTo>
                    <a:pt x="124229" y="93552"/>
                  </a:lnTo>
                  <a:lnTo>
                    <a:pt x="191061" y="46266"/>
                  </a:lnTo>
                  <a:lnTo>
                    <a:pt x="270156" y="0"/>
                  </a:lnTo>
                  <a:lnTo>
                    <a:pt x="306671" y="10502"/>
                  </a:lnTo>
                  <a:lnTo>
                    <a:pt x="319654" y="23848"/>
                  </a:lnTo>
                  <a:lnTo>
                    <a:pt x="335983" y="14820"/>
                  </a:lnTo>
                  <a:lnTo>
                    <a:pt x="341652" y="52478"/>
                  </a:lnTo>
                  <a:lnTo>
                    <a:pt x="350289" y="58753"/>
                  </a:lnTo>
                  <a:lnTo>
                    <a:pt x="350660" y="66418"/>
                  </a:lnTo>
                  <a:lnTo>
                    <a:pt x="360265" y="74668"/>
                  </a:lnTo>
                  <a:lnTo>
                    <a:pt x="355245" y="85011"/>
                  </a:lnTo>
                  <a:lnTo>
                    <a:pt x="346350" y="133541"/>
                  </a:lnTo>
                  <a:lnTo>
                    <a:pt x="345134" y="164459"/>
                  </a:lnTo>
                  <a:lnTo>
                    <a:pt x="315691" y="186790"/>
                  </a:lnTo>
                  <a:lnTo>
                    <a:pt x="305724" y="217878"/>
                  </a:lnTo>
                  <a:lnTo>
                    <a:pt x="315333" y="226599"/>
                  </a:lnTo>
                  <a:lnTo>
                    <a:pt x="315282" y="241722"/>
                  </a:lnTo>
                  <a:lnTo>
                    <a:pt x="330085" y="242263"/>
                  </a:lnTo>
                  <a:lnTo>
                    <a:pt x="327777" y="253319"/>
                  </a:lnTo>
                  <a:lnTo>
                    <a:pt x="321262" y="254665"/>
                  </a:lnTo>
                  <a:lnTo>
                    <a:pt x="320519" y="262130"/>
                  </a:lnTo>
                  <a:lnTo>
                    <a:pt x="316226" y="262648"/>
                  </a:lnTo>
                  <a:lnTo>
                    <a:pt x="300607" y="236954"/>
                  </a:lnTo>
                  <a:lnTo>
                    <a:pt x="295189" y="236019"/>
                  </a:lnTo>
                  <a:lnTo>
                    <a:pt x="277140" y="249147"/>
                  </a:lnTo>
                  <a:lnTo>
                    <a:pt x="259268" y="242296"/>
                  </a:lnTo>
                  <a:lnTo>
                    <a:pt x="246845" y="240926"/>
                  </a:lnTo>
                  <a:lnTo>
                    <a:pt x="240184" y="244224"/>
                  </a:lnTo>
                  <a:lnTo>
                    <a:pt x="226652" y="243511"/>
                  </a:lnTo>
                  <a:lnTo>
                    <a:pt x="213036" y="253514"/>
                  </a:lnTo>
                  <a:lnTo>
                    <a:pt x="201264" y="254087"/>
                  </a:lnTo>
                  <a:lnTo>
                    <a:pt x="173328" y="241955"/>
                  </a:lnTo>
                  <a:lnTo>
                    <a:pt x="162389" y="247719"/>
                  </a:lnTo>
                  <a:lnTo>
                    <a:pt x="150609" y="247319"/>
                  </a:lnTo>
                  <a:lnTo>
                    <a:pt x="141953" y="238449"/>
                  </a:lnTo>
                  <a:lnTo>
                    <a:pt x="118816" y="229675"/>
                  </a:lnTo>
                  <a:lnTo>
                    <a:pt x="94009" y="232461"/>
                  </a:lnTo>
                  <a:lnTo>
                    <a:pt x="87998" y="237545"/>
                  </a:lnTo>
                  <a:lnTo>
                    <a:pt x="84751" y="251050"/>
                  </a:lnTo>
                  <a:lnTo>
                    <a:pt x="78134" y="260507"/>
                  </a:lnTo>
                  <a:lnTo>
                    <a:pt x="76531" y="281412"/>
                  </a:lnTo>
                  <a:lnTo>
                    <a:pt x="58930" y="267941"/>
                  </a:lnTo>
                  <a:lnTo>
                    <a:pt x="50655" y="268002"/>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24" name="Freeform 122">
              <a:extLst>
                <a:ext uri="{FF2B5EF4-FFF2-40B4-BE49-F238E27FC236}">
                  <a16:creationId xmlns:a16="http://schemas.microsoft.com/office/drawing/2014/main" id="{08FB7F67-D6BA-7E4A-AF63-E1CFF8972CDF}"/>
                </a:ext>
              </a:extLst>
            </p:cNvPr>
            <p:cNvSpPr>
              <a:spLocks noChangeAspect="1"/>
            </p:cNvSpPr>
            <p:nvPr>
              <p:custDataLst>
                <p:tags r:id="rId128"/>
              </p:custDataLst>
            </p:nvPr>
          </p:nvSpPr>
          <p:spPr>
            <a:xfrm>
              <a:off x="4422818" y="4205889"/>
              <a:ext cx="274350" cy="224141"/>
            </a:xfrm>
            <a:custGeom>
              <a:avLst/>
              <a:gdLst/>
              <a:ahLst/>
              <a:cxnLst/>
              <a:rect l="0" t="0" r="0" b="0"/>
              <a:pathLst>
                <a:path w="274350" h="224141">
                  <a:moveTo>
                    <a:pt x="134078" y="211850"/>
                  </a:moveTo>
                  <a:lnTo>
                    <a:pt x="110114" y="220174"/>
                  </a:lnTo>
                  <a:lnTo>
                    <a:pt x="101354" y="218958"/>
                  </a:lnTo>
                  <a:lnTo>
                    <a:pt x="92478" y="224140"/>
                  </a:lnTo>
                  <a:lnTo>
                    <a:pt x="74014" y="223635"/>
                  </a:lnTo>
                  <a:lnTo>
                    <a:pt x="61656" y="209166"/>
                  </a:lnTo>
                  <a:lnTo>
                    <a:pt x="54057" y="192413"/>
                  </a:lnTo>
                  <a:lnTo>
                    <a:pt x="37715" y="177153"/>
                  </a:lnTo>
                  <a:lnTo>
                    <a:pt x="20370" y="177439"/>
                  </a:lnTo>
                  <a:lnTo>
                    <a:pt x="0" y="177427"/>
                  </a:lnTo>
                  <a:lnTo>
                    <a:pt x="1324" y="140037"/>
                  </a:lnTo>
                  <a:lnTo>
                    <a:pt x="741" y="125257"/>
                  </a:lnTo>
                  <a:lnTo>
                    <a:pt x="5092" y="110587"/>
                  </a:lnTo>
                  <a:lnTo>
                    <a:pt x="12203" y="103451"/>
                  </a:lnTo>
                  <a:lnTo>
                    <a:pt x="23400" y="89028"/>
                  </a:lnTo>
                  <a:lnTo>
                    <a:pt x="20968" y="82755"/>
                  </a:lnTo>
                  <a:lnTo>
                    <a:pt x="25516" y="73362"/>
                  </a:lnTo>
                  <a:lnTo>
                    <a:pt x="20325" y="59505"/>
                  </a:lnTo>
                  <a:lnTo>
                    <a:pt x="21224" y="51737"/>
                  </a:lnTo>
                  <a:lnTo>
                    <a:pt x="22827" y="30832"/>
                  </a:lnTo>
                  <a:lnTo>
                    <a:pt x="29444" y="21375"/>
                  </a:lnTo>
                  <a:lnTo>
                    <a:pt x="32691" y="7870"/>
                  </a:lnTo>
                  <a:lnTo>
                    <a:pt x="38702" y="2786"/>
                  </a:lnTo>
                  <a:lnTo>
                    <a:pt x="63509" y="0"/>
                  </a:lnTo>
                  <a:lnTo>
                    <a:pt x="86646" y="8774"/>
                  </a:lnTo>
                  <a:lnTo>
                    <a:pt x="95302" y="17644"/>
                  </a:lnTo>
                  <a:lnTo>
                    <a:pt x="107082" y="18044"/>
                  </a:lnTo>
                  <a:lnTo>
                    <a:pt x="118021" y="12280"/>
                  </a:lnTo>
                  <a:lnTo>
                    <a:pt x="145957" y="24412"/>
                  </a:lnTo>
                  <a:lnTo>
                    <a:pt x="157729" y="23839"/>
                  </a:lnTo>
                  <a:lnTo>
                    <a:pt x="171345" y="13836"/>
                  </a:lnTo>
                  <a:lnTo>
                    <a:pt x="184877" y="14549"/>
                  </a:lnTo>
                  <a:lnTo>
                    <a:pt x="191538" y="11251"/>
                  </a:lnTo>
                  <a:lnTo>
                    <a:pt x="203961" y="12621"/>
                  </a:lnTo>
                  <a:lnTo>
                    <a:pt x="221833" y="19472"/>
                  </a:lnTo>
                  <a:lnTo>
                    <a:pt x="239882" y="6344"/>
                  </a:lnTo>
                  <a:lnTo>
                    <a:pt x="245300" y="7279"/>
                  </a:lnTo>
                  <a:lnTo>
                    <a:pt x="260919" y="32973"/>
                  </a:lnTo>
                  <a:lnTo>
                    <a:pt x="265212" y="32455"/>
                  </a:lnTo>
                  <a:lnTo>
                    <a:pt x="274349" y="41786"/>
                  </a:lnTo>
                  <a:lnTo>
                    <a:pt x="271833" y="46014"/>
                  </a:lnTo>
                  <a:lnTo>
                    <a:pt x="270614" y="53791"/>
                  </a:lnTo>
                  <a:lnTo>
                    <a:pt x="251168" y="71872"/>
                  </a:lnTo>
                  <a:lnTo>
                    <a:pt x="245068" y="86763"/>
                  </a:lnTo>
                  <a:lnTo>
                    <a:pt x="241812" y="98875"/>
                  </a:lnTo>
                  <a:lnTo>
                    <a:pt x="236915" y="104065"/>
                  </a:lnTo>
                  <a:lnTo>
                    <a:pt x="232257" y="120354"/>
                  </a:lnTo>
                  <a:lnTo>
                    <a:pt x="219913" y="129930"/>
                  </a:lnTo>
                  <a:lnTo>
                    <a:pt x="216336" y="141684"/>
                  </a:lnTo>
                  <a:lnTo>
                    <a:pt x="211151" y="151034"/>
                  </a:lnTo>
                  <a:lnTo>
                    <a:pt x="208992" y="160677"/>
                  </a:lnTo>
                  <a:lnTo>
                    <a:pt x="193135" y="168490"/>
                  </a:lnTo>
                  <a:lnTo>
                    <a:pt x="180176" y="158961"/>
                  </a:lnTo>
                  <a:lnTo>
                    <a:pt x="171425" y="159346"/>
                  </a:lnTo>
                  <a:lnTo>
                    <a:pt x="157678" y="172916"/>
                  </a:lnTo>
                  <a:lnTo>
                    <a:pt x="150995" y="173124"/>
                  </a:lnTo>
                  <a:lnTo>
                    <a:pt x="140016" y="19547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25" name="Freeform 123">
              <a:extLst>
                <a:ext uri="{FF2B5EF4-FFF2-40B4-BE49-F238E27FC236}">
                  <a16:creationId xmlns:a16="http://schemas.microsoft.com/office/drawing/2014/main" id="{5EC0B6B4-DE62-0445-97EB-5F2B590991FA}"/>
                </a:ext>
              </a:extLst>
            </p:cNvPr>
            <p:cNvSpPr>
              <a:spLocks noChangeAspect="1"/>
            </p:cNvSpPr>
            <p:nvPr>
              <p:custDataLst>
                <p:tags r:id="rId129"/>
              </p:custDataLst>
            </p:nvPr>
          </p:nvSpPr>
          <p:spPr>
            <a:xfrm>
              <a:off x="4437205" y="3158690"/>
              <a:ext cx="87186" cy="83725"/>
            </a:xfrm>
            <a:custGeom>
              <a:avLst/>
              <a:gdLst/>
              <a:ahLst/>
              <a:cxnLst/>
              <a:rect l="0" t="0" r="0" b="0"/>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solidFill>
              <a:schemeClr val="tx2"/>
            </a:solid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26" name="Freeform 124">
              <a:extLst>
                <a:ext uri="{FF2B5EF4-FFF2-40B4-BE49-F238E27FC236}">
                  <a16:creationId xmlns:a16="http://schemas.microsoft.com/office/drawing/2014/main" id="{F2790194-52D1-8749-9566-4823DFF1E2D2}"/>
                </a:ext>
              </a:extLst>
            </p:cNvPr>
            <p:cNvSpPr>
              <a:spLocks noChangeAspect="1"/>
            </p:cNvSpPr>
            <p:nvPr>
              <p:custDataLst>
                <p:tags r:id="rId130"/>
              </p:custDataLst>
            </p:nvPr>
          </p:nvSpPr>
          <p:spPr>
            <a:xfrm>
              <a:off x="4475918" y="2069635"/>
              <a:ext cx="607105" cy="940787"/>
            </a:xfrm>
            <a:custGeom>
              <a:avLst/>
              <a:gdLst/>
              <a:ahLst/>
              <a:cxnLst/>
              <a:rect l="l" t="t" r="r" b="b"/>
              <a:pathLst>
                <a:path w="607105" h="940787">
                  <a:moveTo>
                    <a:pt x="534906" y="449692"/>
                  </a:moveTo>
                  <a:lnTo>
                    <a:pt x="607105" y="480419"/>
                  </a:lnTo>
                  <a:lnTo>
                    <a:pt x="577375" y="491536"/>
                  </a:lnTo>
                  <a:lnTo>
                    <a:pt x="602666" y="517398"/>
                  </a:lnTo>
                  <a:lnTo>
                    <a:pt x="563391" y="533742"/>
                  </a:lnTo>
                  <a:lnTo>
                    <a:pt x="544748" y="537476"/>
                  </a:lnTo>
                  <a:lnTo>
                    <a:pt x="554526" y="508855"/>
                  </a:lnTo>
                  <a:lnTo>
                    <a:pt x="524905" y="492450"/>
                  </a:lnTo>
                  <a:lnTo>
                    <a:pt x="489065" y="506438"/>
                  </a:lnTo>
                  <a:lnTo>
                    <a:pt x="477745" y="536369"/>
                  </a:lnTo>
                  <a:lnTo>
                    <a:pt x="455735" y="554222"/>
                  </a:lnTo>
                  <a:lnTo>
                    <a:pt x="430953" y="544492"/>
                  </a:lnTo>
                  <a:lnTo>
                    <a:pt x="400811" y="546489"/>
                  </a:lnTo>
                  <a:lnTo>
                    <a:pt x="375159" y="525059"/>
                  </a:lnTo>
                  <a:lnTo>
                    <a:pt x="361325" y="535796"/>
                  </a:lnTo>
                  <a:lnTo>
                    <a:pt x="347006" y="537462"/>
                  </a:lnTo>
                  <a:lnTo>
                    <a:pt x="343620" y="563933"/>
                  </a:lnTo>
                  <a:lnTo>
                    <a:pt x="300116" y="557520"/>
                  </a:lnTo>
                  <a:lnTo>
                    <a:pt x="294007" y="579725"/>
                  </a:lnTo>
                  <a:lnTo>
                    <a:pt x="271840" y="579591"/>
                  </a:lnTo>
                  <a:lnTo>
                    <a:pt x="256601" y="607617"/>
                  </a:lnTo>
                  <a:lnTo>
                    <a:pt x="233512" y="650536"/>
                  </a:lnTo>
                  <a:lnTo>
                    <a:pt x="197671" y="703754"/>
                  </a:lnTo>
                  <a:lnTo>
                    <a:pt x="206078" y="716474"/>
                  </a:lnTo>
                  <a:lnTo>
                    <a:pt x="198046" y="731136"/>
                  </a:lnTo>
                  <a:lnTo>
                    <a:pt x="175148" y="730506"/>
                  </a:lnTo>
                  <a:lnTo>
                    <a:pt x="160159" y="764817"/>
                  </a:lnTo>
                  <a:lnTo>
                    <a:pt x="161578" y="812479"/>
                  </a:lnTo>
                  <a:lnTo>
                    <a:pt x="176330" y="830396"/>
                  </a:lnTo>
                  <a:lnTo>
                    <a:pt x="168695" y="871404"/>
                  </a:lnTo>
                  <a:lnTo>
                    <a:pt x="149488" y="894970"/>
                  </a:lnTo>
                  <a:lnTo>
                    <a:pt x="139311" y="914590"/>
                  </a:lnTo>
                  <a:lnTo>
                    <a:pt x="123827" y="893691"/>
                  </a:lnTo>
                  <a:lnTo>
                    <a:pt x="78248" y="932918"/>
                  </a:lnTo>
                  <a:lnTo>
                    <a:pt x="47474" y="940787"/>
                  </a:lnTo>
                  <a:lnTo>
                    <a:pt x="15552" y="923657"/>
                  </a:lnTo>
                  <a:lnTo>
                    <a:pt x="7298" y="887062"/>
                  </a:lnTo>
                  <a:lnTo>
                    <a:pt x="0" y="806413"/>
                  </a:lnTo>
                  <a:lnTo>
                    <a:pt x="21255" y="783385"/>
                  </a:lnTo>
                  <a:lnTo>
                    <a:pt x="82205" y="752965"/>
                  </a:lnTo>
                  <a:lnTo>
                    <a:pt x="127777" y="714966"/>
                  </a:lnTo>
                  <a:lnTo>
                    <a:pt x="170033" y="662538"/>
                  </a:lnTo>
                  <a:lnTo>
                    <a:pt x="225496" y="587638"/>
                  </a:lnTo>
                  <a:lnTo>
                    <a:pt x="264155" y="557687"/>
                  </a:lnTo>
                  <a:lnTo>
                    <a:pt x="327588" y="506761"/>
                  </a:lnTo>
                  <a:lnTo>
                    <a:pt x="378241" y="488678"/>
                  </a:lnTo>
                  <a:lnTo>
                    <a:pt x="416219" y="490881"/>
                  </a:lnTo>
                  <a:lnTo>
                    <a:pt x="451369" y="456240"/>
                  </a:lnTo>
                  <a:lnTo>
                    <a:pt x="493461" y="458105"/>
                  </a:lnTo>
                  <a:close/>
                  <a:moveTo>
                    <a:pt x="412999" y="114547"/>
                  </a:moveTo>
                  <a:lnTo>
                    <a:pt x="422165" y="133385"/>
                  </a:lnTo>
                  <a:lnTo>
                    <a:pt x="455468" y="144619"/>
                  </a:lnTo>
                  <a:lnTo>
                    <a:pt x="403906" y="164805"/>
                  </a:lnTo>
                  <a:lnTo>
                    <a:pt x="363181" y="153374"/>
                  </a:lnTo>
                  <a:lnTo>
                    <a:pt x="379111" y="140586"/>
                  </a:lnTo>
                  <a:lnTo>
                    <a:pt x="365164" y="124623"/>
                  </a:lnTo>
                  <a:close/>
                  <a:moveTo>
                    <a:pt x="276964" y="32253"/>
                  </a:moveTo>
                  <a:lnTo>
                    <a:pt x="306071" y="50571"/>
                  </a:lnTo>
                  <a:lnTo>
                    <a:pt x="382059" y="89096"/>
                  </a:lnTo>
                  <a:lnTo>
                    <a:pt x="323972" y="109109"/>
                  </a:lnTo>
                  <a:lnTo>
                    <a:pt x="311146" y="145967"/>
                  </a:lnTo>
                  <a:lnTo>
                    <a:pt x="290896" y="155303"/>
                  </a:lnTo>
                  <a:lnTo>
                    <a:pt x="279903" y="195750"/>
                  </a:lnTo>
                  <a:lnTo>
                    <a:pt x="252087" y="197630"/>
                  </a:lnTo>
                  <a:lnTo>
                    <a:pt x="202447" y="167973"/>
                  </a:lnTo>
                  <a:lnTo>
                    <a:pt x="223382" y="150477"/>
                  </a:lnTo>
                  <a:lnTo>
                    <a:pt x="188782" y="136109"/>
                  </a:lnTo>
                  <a:lnTo>
                    <a:pt x="143810" y="93529"/>
                  </a:lnTo>
                  <a:lnTo>
                    <a:pt x="125857" y="53146"/>
                  </a:lnTo>
                  <a:lnTo>
                    <a:pt x="188786" y="34382"/>
                  </a:lnTo>
                  <a:lnTo>
                    <a:pt x="201430" y="52729"/>
                  </a:lnTo>
                  <a:lnTo>
                    <a:pt x="234306" y="52003"/>
                  </a:lnTo>
                  <a:lnTo>
                    <a:pt x="243071" y="34086"/>
                  </a:lnTo>
                  <a:close/>
                  <a:moveTo>
                    <a:pt x="413807" y="0"/>
                  </a:moveTo>
                  <a:lnTo>
                    <a:pt x="472169" y="13358"/>
                  </a:lnTo>
                  <a:lnTo>
                    <a:pt x="517408" y="31960"/>
                  </a:lnTo>
                  <a:lnTo>
                    <a:pt x="483180" y="60148"/>
                  </a:lnTo>
                  <a:lnTo>
                    <a:pt x="416236" y="66258"/>
                  </a:lnTo>
                  <a:lnTo>
                    <a:pt x="348159" y="57602"/>
                  </a:lnTo>
                  <a:lnTo>
                    <a:pt x="344052" y="43215"/>
                  </a:lnTo>
                  <a:lnTo>
                    <a:pt x="310928" y="42296"/>
                  </a:lnTo>
                  <a:lnTo>
                    <a:pt x="285670" y="18064"/>
                  </a:lnTo>
                  <a:lnTo>
                    <a:pt x="356948" y="3163"/>
                  </a:lnTo>
                  <a:lnTo>
                    <a:pt x="390463" y="16002"/>
                  </a:lnTo>
                  <a:close/>
                </a:path>
              </a:pathLst>
            </a:custGeom>
            <a:solidFill>
              <a:schemeClr val="tx2"/>
            </a:solid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27" name="Freeform 125">
              <a:extLst>
                <a:ext uri="{FF2B5EF4-FFF2-40B4-BE49-F238E27FC236}">
                  <a16:creationId xmlns:a16="http://schemas.microsoft.com/office/drawing/2014/main" id="{0A95A41E-799B-5949-91C5-5A04BA36A5D2}"/>
                </a:ext>
              </a:extLst>
            </p:cNvPr>
            <p:cNvSpPr>
              <a:spLocks noChangeAspect="1"/>
            </p:cNvSpPr>
            <p:nvPr>
              <p:custDataLst>
                <p:tags r:id="rId131"/>
              </p:custDataLst>
            </p:nvPr>
          </p:nvSpPr>
          <p:spPr>
            <a:xfrm>
              <a:off x="6209342" y="3803609"/>
              <a:ext cx="186656" cy="100744"/>
            </a:xfrm>
            <a:custGeom>
              <a:avLst/>
              <a:gdLst/>
              <a:ahLst/>
              <a:cxnLst/>
              <a:rect l="0" t="0" r="0" b="0"/>
              <a:pathLst>
                <a:path w="186656" h="100744">
                  <a:moveTo>
                    <a:pt x="185400" y="64005"/>
                  </a:moveTo>
                  <a:lnTo>
                    <a:pt x="183615" y="74738"/>
                  </a:lnTo>
                  <a:lnTo>
                    <a:pt x="186655" y="90524"/>
                  </a:lnTo>
                  <a:lnTo>
                    <a:pt x="184010" y="100329"/>
                  </a:lnTo>
                  <a:lnTo>
                    <a:pt x="164788" y="100743"/>
                  </a:lnTo>
                  <a:lnTo>
                    <a:pt x="137018" y="94972"/>
                  </a:lnTo>
                  <a:lnTo>
                    <a:pt x="119184" y="92612"/>
                  </a:lnTo>
                  <a:lnTo>
                    <a:pt x="105871" y="79984"/>
                  </a:lnTo>
                  <a:lnTo>
                    <a:pt x="74229" y="76761"/>
                  </a:lnTo>
                  <a:lnTo>
                    <a:pt x="44124" y="62784"/>
                  </a:lnTo>
                  <a:lnTo>
                    <a:pt x="22362" y="50523"/>
                  </a:lnTo>
                  <a:lnTo>
                    <a:pt x="0" y="41043"/>
                  </a:lnTo>
                  <a:lnTo>
                    <a:pt x="8963" y="17514"/>
                  </a:lnTo>
                  <a:lnTo>
                    <a:pt x="23609" y="6056"/>
                  </a:lnTo>
                  <a:lnTo>
                    <a:pt x="33178" y="0"/>
                  </a:lnTo>
                  <a:lnTo>
                    <a:pt x="51684" y="7781"/>
                  </a:lnTo>
                  <a:lnTo>
                    <a:pt x="74988" y="24222"/>
                  </a:lnTo>
                  <a:lnTo>
                    <a:pt x="87958" y="27835"/>
                  </a:lnTo>
                  <a:lnTo>
                    <a:pt x="95704" y="39903"/>
                  </a:lnTo>
                  <a:lnTo>
                    <a:pt x="113641" y="44846"/>
                  </a:lnTo>
                  <a:lnTo>
                    <a:pt x="132376" y="55838"/>
                  </a:lnTo>
                  <a:lnTo>
                    <a:pt x="158488" y="6156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28" name="Freeform 126">
              <a:extLst>
                <a:ext uri="{FF2B5EF4-FFF2-40B4-BE49-F238E27FC236}">
                  <a16:creationId xmlns:a16="http://schemas.microsoft.com/office/drawing/2014/main" id="{6FEAACC6-464A-8640-A350-DCC8A660ECF4}"/>
                </a:ext>
              </a:extLst>
            </p:cNvPr>
            <p:cNvSpPr>
              <a:spLocks noChangeAspect="1"/>
            </p:cNvSpPr>
            <p:nvPr>
              <p:custDataLst>
                <p:tags r:id="rId132"/>
              </p:custDataLst>
            </p:nvPr>
          </p:nvSpPr>
          <p:spPr>
            <a:xfrm>
              <a:off x="8204163" y="5355753"/>
              <a:ext cx="277176" cy="334138"/>
            </a:xfrm>
            <a:custGeom>
              <a:avLst/>
              <a:gdLst/>
              <a:ahLst/>
              <a:cxnLst/>
              <a:rect l="l" t="t" r="r" b="b"/>
              <a:pathLst>
                <a:path w="277176" h="334138">
                  <a:moveTo>
                    <a:pt x="145177" y="161119"/>
                  </a:moveTo>
                  <a:lnTo>
                    <a:pt x="150297" y="172762"/>
                  </a:lnTo>
                  <a:lnTo>
                    <a:pt x="155534" y="184115"/>
                  </a:lnTo>
                  <a:lnTo>
                    <a:pt x="171949" y="172972"/>
                  </a:lnTo>
                  <a:lnTo>
                    <a:pt x="178625" y="184587"/>
                  </a:lnTo>
                  <a:lnTo>
                    <a:pt x="178645" y="196203"/>
                  </a:lnTo>
                  <a:lnTo>
                    <a:pt x="170058" y="209040"/>
                  </a:lnTo>
                  <a:lnTo>
                    <a:pt x="154968" y="229575"/>
                  </a:lnTo>
                  <a:lnTo>
                    <a:pt x="143161" y="240847"/>
                  </a:lnTo>
                  <a:lnTo>
                    <a:pt x="151676" y="254384"/>
                  </a:lnTo>
                  <a:lnTo>
                    <a:pt x="133867" y="254733"/>
                  </a:lnTo>
                  <a:lnTo>
                    <a:pt x="114116" y="265383"/>
                  </a:lnTo>
                  <a:lnTo>
                    <a:pt x="107934" y="283979"/>
                  </a:lnTo>
                  <a:lnTo>
                    <a:pt x="94813" y="312967"/>
                  </a:lnTo>
                  <a:lnTo>
                    <a:pt x="76687" y="325866"/>
                  </a:lnTo>
                  <a:lnTo>
                    <a:pt x="65167" y="334138"/>
                  </a:lnTo>
                  <a:lnTo>
                    <a:pt x="43908" y="333521"/>
                  </a:lnTo>
                  <a:lnTo>
                    <a:pt x="28960" y="323970"/>
                  </a:lnTo>
                  <a:lnTo>
                    <a:pt x="3872" y="321938"/>
                  </a:lnTo>
                  <a:lnTo>
                    <a:pt x="0" y="311348"/>
                  </a:lnTo>
                  <a:lnTo>
                    <a:pt x="12401" y="290080"/>
                  </a:lnTo>
                  <a:lnTo>
                    <a:pt x="41424" y="262028"/>
                  </a:lnTo>
                  <a:lnTo>
                    <a:pt x="56327" y="256711"/>
                  </a:lnTo>
                  <a:lnTo>
                    <a:pt x="72911" y="245990"/>
                  </a:lnTo>
                  <a:lnTo>
                    <a:pt x="92695" y="231300"/>
                  </a:lnTo>
                  <a:lnTo>
                    <a:pt x="106548" y="216814"/>
                  </a:lnTo>
                  <a:lnTo>
                    <a:pt x="116812" y="196132"/>
                  </a:lnTo>
                  <a:lnTo>
                    <a:pt x="125560" y="189143"/>
                  </a:lnTo>
                  <a:lnTo>
                    <a:pt x="128988" y="173779"/>
                  </a:lnTo>
                  <a:close/>
                  <a:moveTo>
                    <a:pt x="149989" y="0"/>
                  </a:moveTo>
                  <a:lnTo>
                    <a:pt x="162552" y="14494"/>
                  </a:lnTo>
                  <a:lnTo>
                    <a:pt x="180512" y="21280"/>
                  </a:lnTo>
                  <a:lnTo>
                    <a:pt x="187036" y="44695"/>
                  </a:lnTo>
                  <a:lnTo>
                    <a:pt x="203762" y="72572"/>
                  </a:lnTo>
                  <a:lnTo>
                    <a:pt x="204246" y="54462"/>
                  </a:lnTo>
                  <a:lnTo>
                    <a:pt x="214663" y="61683"/>
                  </a:lnTo>
                  <a:lnTo>
                    <a:pt x="218117" y="81793"/>
                  </a:lnTo>
                  <a:lnTo>
                    <a:pt x="236692" y="90494"/>
                  </a:lnTo>
                  <a:lnTo>
                    <a:pt x="252286" y="92634"/>
                  </a:lnTo>
                  <a:lnTo>
                    <a:pt x="265479" y="82445"/>
                  </a:lnTo>
                  <a:lnTo>
                    <a:pt x="277176" y="85528"/>
                  </a:lnTo>
                  <a:lnTo>
                    <a:pt x="271582" y="109305"/>
                  </a:lnTo>
                  <a:lnTo>
                    <a:pt x="264558" y="125036"/>
                  </a:lnTo>
                  <a:lnTo>
                    <a:pt x="246935" y="124480"/>
                  </a:lnTo>
                  <a:lnTo>
                    <a:pt x="240772" y="132703"/>
                  </a:lnTo>
                  <a:lnTo>
                    <a:pt x="242918" y="144379"/>
                  </a:lnTo>
                  <a:lnTo>
                    <a:pt x="239522" y="149442"/>
                  </a:lnTo>
                  <a:lnTo>
                    <a:pt x="230800" y="164151"/>
                  </a:lnTo>
                  <a:lnTo>
                    <a:pt x="219362" y="182948"/>
                  </a:lnTo>
                  <a:lnTo>
                    <a:pt x="201522" y="193945"/>
                  </a:lnTo>
                  <a:lnTo>
                    <a:pt x="197559" y="186702"/>
                  </a:lnTo>
                  <a:lnTo>
                    <a:pt x="187935" y="182733"/>
                  </a:lnTo>
                  <a:lnTo>
                    <a:pt x="201246" y="160170"/>
                  </a:lnTo>
                  <a:lnTo>
                    <a:pt x="193687" y="145167"/>
                  </a:lnTo>
                  <a:lnTo>
                    <a:pt x="168848" y="134305"/>
                  </a:lnTo>
                  <a:lnTo>
                    <a:pt x="169499" y="124502"/>
                  </a:lnTo>
                  <a:lnTo>
                    <a:pt x="186177" y="115089"/>
                  </a:lnTo>
                  <a:lnTo>
                    <a:pt x="190070" y="94415"/>
                  </a:lnTo>
                  <a:lnTo>
                    <a:pt x="188998" y="77150"/>
                  </a:lnTo>
                  <a:lnTo>
                    <a:pt x="179649" y="59356"/>
                  </a:lnTo>
                  <a:lnTo>
                    <a:pt x="180273" y="54690"/>
                  </a:lnTo>
                  <a:lnTo>
                    <a:pt x="169239" y="43788"/>
                  </a:lnTo>
                  <a:lnTo>
                    <a:pt x="151077" y="20537"/>
                  </a:lnTo>
                  <a:lnTo>
                    <a:pt x="141424" y="204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29" name="Freeform 127">
              <a:extLst>
                <a:ext uri="{FF2B5EF4-FFF2-40B4-BE49-F238E27FC236}">
                  <a16:creationId xmlns:a16="http://schemas.microsoft.com/office/drawing/2014/main" id="{04EDA4C8-CF67-3D49-BC7E-8A6ED4C12F44}"/>
                </a:ext>
              </a:extLst>
            </p:cNvPr>
            <p:cNvSpPr>
              <a:spLocks noChangeAspect="1"/>
            </p:cNvSpPr>
            <p:nvPr>
              <p:custDataLst>
                <p:tags r:id="rId133"/>
              </p:custDataLst>
            </p:nvPr>
          </p:nvSpPr>
          <p:spPr>
            <a:xfrm>
              <a:off x="5560987" y="3904400"/>
              <a:ext cx="180231" cy="235710"/>
            </a:xfrm>
            <a:custGeom>
              <a:avLst/>
              <a:gdLst/>
              <a:ahLst/>
              <a:cxnLst/>
              <a:rect l="l" t="t" r="r" b="b"/>
              <a:pathLst>
                <a:path w="180231" h="235710">
                  <a:moveTo>
                    <a:pt x="101490" y="36263"/>
                  </a:moveTo>
                  <a:lnTo>
                    <a:pt x="111838" y="53007"/>
                  </a:lnTo>
                  <a:lnTo>
                    <a:pt x="124726" y="61884"/>
                  </a:lnTo>
                  <a:lnTo>
                    <a:pt x="141657" y="65075"/>
                  </a:lnTo>
                  <a:lnTo>
                    <a:pt x="155328" y="69522"/>
                  </a:lnTo>
                  <a:lnTo>
                    <a:pt x="165745" y="83486"/>
                  </a:lnTo>
                  <a:lnTo>
                    <a:pt x="171968" y="91559"/>
                  </a:lnTo>
                  <a:lnTo>
                    <a:pt x="180231" y="94635"/>
                  </a:lnTo>
                  <a:lnTo>
                    <a:pt x="180186" y="100047"/>
                  </a:lnTo>
                  <a:lnTo>
                    <a:pt x="171785" y="114480"/>
                  </a:lnTo>
                  <a:lnTo>
                    <a:pt x="168097" y="121264"/>
                  </a:lnTo>
                  <a:lnTo>
                    <a:pt x="158373" y="128985"/>
                  </a:lnTo>
                  <a:lnTo>
                    <a:pt x="149760" y="145487"/>
                  </a:lnTo>
                  <a:lnTo>
                    <a:pt x="139288" y="144225"/>
                  </a:lnTo>
                  <a:lnTo>
                    <a:pt x="134488" y="149959"/>
                  </a:lnTo>
                  <a:lnTo>
                    <a:pt x="130781" y="162133"/>
                  </a:lnTo>
                  <a:lnTo>
                    <a:pt x="133618" y="178147"/>
                  </a:lnTo>
                  <a:lnTo>
                    <a:pt x="131441" y="181086"/>
                  </a:lnTo>
                  <a:lnTo>
                    <a:pt x="120820" y="181007"/>
                  </a:lnTo>
                  <a:lnTo>
                    <a:pt x="106403" y="189938"/>
                  </a:lnTo>
                  <a:lnTo>
                    <a:pt x="104153" y="201562"/>
                  </a:lnTo>
                  <a:lnTo>
                    <a:pt x="98875" y="206591"/>
                  </a:lnTo>
                  <a:lnTo>
                    <a:pt x="84517" y="206399"/>
                  </a:lnTo>
                  <a:lnTo>
                    <a:pt x="75478" y="212395"/>
                  </a:lnTo>
                  <a:lnTo>
                    <a:pt x="75593" y="222002"/>
                  </a:lnTo>
                  <a:lnTo>
                    <a:pt x="64423" y="228599"/>
                  </a:lnTo>
                  <a:lnTo>
                    <a:pt x="51688" y="226359"/>
                  </a:lnTo>
                  <a:lnTo>
                    <a:pt x="36251" y="234367"/>
                  </a:lnTo>
                  <a:lnTo>
                    <a:pt x="25589" y="235710"/>
                  </a:lnTo>
                  <a:lnTo>
                    <a:pt x="18054" y="219117"/>
                  </a:lnTo>
                  <a:lnTo>
                    <a:pt x="0" y="179763"/>
                  </a:lnTo>
                  <a:lnTo>
                    <a:pt x="69247" y="155798"/>
                  </a:lnTo>
                  <a:lnTo>
                    <a:pt x="84636" y="107572"/>
                  </a:lnTo>
                  <a:lnTo>
                    <a:pt x="74057" y="90391"/>
                  </a:lnTo>
                  <a:lnTo>
                    <a:pt x="74660" y="80600"/>
                  </a:lnTo>
                  <a:lnTo>
                    <a:pt x="81385" y="70517"/>
                  </a:lnTo>
                  <a:lnTo>
                    <a:pt x="81450" y="60540"/>
                  </a:lnTo>
                  <a:lnTo>
                    <a:pt x="91897" y="55725"/>
                  </a:lnTo>
                  <a:lnTo>
                    <a:pt x="87809" y="52323"/>
                  </a:lnTo>
                  <a:lnTo>
                    <a:pt x="89704" y="36359"/>
                  </a:lnTo>
                  <a:close/>
                  <a:moveTo>
                    <a:pt x="100687" y="0"/>
                  </a:moveTo>
                  <a:lnTo>
                    <a:pt x="103541" y="2148"/>
                  </a:lnTo>
                  <a:lnTo>
                    <a:pt x="101365" y="12355"/>
                  </a:lnTo>
                  <a:lnTo>
                    <a:pt x="98356" y="16828"/>
                  </a:lnTo>
                  <a:lnTo>
                    <a:pt x="93965" y="841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30" name="Freeform 128">
              <a:extLst>
                <a:ext uri="{FF2B5EF4-FFF2-40B4-BE49-F238E27FC236}">
                  <a16:creationId xmlns:a16="http://schemas.microsoft.com/office/drawing/2014/main" id="{D7346962-6E4A-654E-9C5D-A1A3B9810569}"/>
                </a:ext>
              </a:extLst>
            </p:cNvPr>
            <p:cNvSpPr>
              <a:spLocks noChangeAspect="1"/>
            </p:cNvSpPr>
            <p:nvPr>
              <p:custDataLst>
                <p:tags r:id="rId134"/>
              </p:custDataLst>
            </p:nvPr>
          </p:nvSpPr>
          <p:spPr>
            <a:xfrm>
              <a:off x="5765827" y="3629638"/>
              <a:ext cx="391557" cy="341204"/>
            </a:xfrm>
            <a:custGeom>
              <a:avLst/>
              <a:gdLst/>
              <a:ahLst/>
              <a:cxnLst/>
              <a:rect l="0" t="0" r="0" b="0"/>
              <a:pathLst>
                <a:path w="391557" h="341204">
                  <a:moveTo>
                    <a:pt x="329708" y="0"/>
                  </a:moveTo>
                  <a:lnTo>
                    <a:pt x="346763" y="12367"/>
                  </a:lnTo>
                  <a:lnTo>
                    <a:pt x="353594" y="32652"/>
                  </a:lnTo>
                  <a:lnTo>
                    <a:pt x="391556" y="43279"/>
                  </a:lnTo>
                  <a:lnTo>
                    <a:pt x="369264" y="65264"/>
                  </a:lnTo>
                  <a:lnTo>
                    <a:pt x="343535" y="69137"/>
                  </a:lnTo>
                  <a:lnTo>
                    <a:pt x="308522" y="62777"/>
                  </a:lnTo>
                  <a:lnTo>
                    <a:pt x="297206" y="74010"/>
                  </a:lnTo>
                  <a:lnTo>
                    <a:pt x="305385" y="96731"/>
                  </a:lnTo>
                  <a:lnTo>
                    <a:pt x="313401" y="114180"/>
                  </a:lnTo>
                  <a:lnTo>
                    <a:pt x="332030" y="126863"/>
                  </a:lnTo>
                  <a:lnTo>
                    <a:pt x="312347" y="141667"/>
                  </a:lnTo>
                  <a:lnTo>
                    <a:pt x="312704" y="159832"/>
                  </a:lnTo>
                  <a:lnTo>
                    <a:pt x="290297" y="185262"/>
                  </a:lnTo>
                  <a:lnTo>
                    <a:pt x="275826" y="210820"/>
                  </a:lnTo>
                  <a:lnTo>
                    <a:pt x="251680" y="237062"/>
                  </a:lnTo>
                  <a:lnTo>
                    <a:pt x="224877" y="235164"/>
                  </a:lnTo>
                  <a:lnTo>
                    <a:pt x="199438" y="261256"/>
                  </a:lnTo>
                  <a:lnTo>
                    <a:pt x="214546" y="272388"/>
                  </a:lnTo>
                  <a:lnTo>
                    <a:pt x="217176" y="291403"/>
                  </a:lnTo>
                  <a:lnTo>
                    <a:pt x="230145" y="303890"/>
                  </a:lnTo>
                  <a:lnTo>
                    <a:pt x="234728" y="324957"/>
                  </a:lnTo>
                  <a:lnTo>
                    <a:pt x="183931" y="324893"/>
                  </a:lnTo>
                  <a:lnTo>
                    <a:pt x="168559" y="341203"/>
                  </a:lnTo>
                  <a:lnTo>
                    <a:pt x="151640" y="335027"/>
                  </a:lnTo>
                  <a:lnTo>
                    <a:pt x="144756" y="317433"/>
                  </a:lnTo>
                  <a:lnTo>
                    <a:pt x="126922" y="298722"/>
                  </a:lnTo>
                  <a:lnTo>
                    <a:pt x="84394" y="303350"/>
                  </a:lnTo>
                  <a:lnTo>
                    <a:pt x="46891" y="303809"/>
                  </a:lnTo>
                  <a:lnTo>
                    <a:pt x="14383" y="307254"/>
                  </a:lnTo>
                  <a:lnTo>
                    <a:pt x="23081" y="278620"/>
                  </a:lnTo>
                  <a:lnTo>
                    <a:pt x="56377" y="265831"/>
                  </a:lnTo>
                  <a:lnTo>
                    <a:pt x="54467" y="254399"/>
                  </a:lnTo>
                  <a:lnTo>
                    <a:pt x="43423" y="250374"/>
                  </a:lnTo>
                  <a:lnTo>
                    <a:pt x="42786" y="228408"/>
                  </a:lnTo>
                  <a:lnTo>
                    <a:pt x="20719" y="217400"/>
                  </a:lnTo>
                  <a:lnTo>
                    <a:pt x="11427" y="202232"/>
                  </a:lnTo>
                  <a:lnTo>
                    <a:pt x="0" y="188978"/>
                  </a:lnTo>
                  <a:lnTo>
                    <a:pt x="38678" y="201847"/>
                  </a:lnTo>
                  <a:lnTo>
                    <a:pt x="61770" y="198078"/>
                  </a:lnTo>
                  <a:lnTo>
                    <a:pt x="75567" y="201287"/>
                  </a:lnTo>
                  <a:lnTo>
                    <a:pt x="80239" y="195767"/>
                  </a:lnTo>
                  <a:lnTo>
                    <a:pt x="96315" y="197980"/>
                  </a:lnTo>
                  <a:lnTo>
                    <a:pt x="126314" y="187496"/>
                  </a:lnTo>
                  <a:lnTo>
                    <a:pt x="127121" y="165952"/>
                  </a:lnTo>
                  <a:lnTo>
                    <a:pt x="139988" y="151558"/>
                  </a:lnTo>
                  <a:lnTo>
                    <a:pt x="157173" y="151603"/>
                  </a:lnTo>
                  <a:lnTo>
                    <a:pt x="159696" y="144468"/>
                  </a:lnTo>
                  <a:lnTo>
                    <a:pt x="177337" y="141139"/>
                  </a:lnTo>
                  <a:lnTo>
                    <a:pt x="185872" y="143517"/>
                  </a:lnTo>
                  <a:lnTo>
                    <a:pt x="194899" y="136331"/>
                  </a:lnTo>
                  <a:lnTo>
                    <a:pt x="193624" y="120939"/>
                  </a:lnTo>
                  <a:lnTo>
                    <a:pt x="203425" y="105406"/>
                  </a:lnTo>
                  <a:lnTo>
                    <a:pt x="218116" y="98875"/>
                  </a:lnTo>
                  <a:lnTo>
                    <a:pt x="209044" y="81743"/>
                  </a:lnTo>
                  <a:lnTo>
                    <a:pt x="231001" y="82554"/>
                  </a:lnTo>
                  <a:lnTo>
                    <a:pt x="237348" y="73198"/>
                  </a:lnTo>
                  <a:lnTo>
                    <a:pt x="236385" y="63188"/>
                  </a:lnTo>
                  <a:lnTo>
                    <a:pt x="247881" y="52211"/>
                  </a:lnTo>
                  <a:lnTo>
                    <a:pt x="245243" y="39169"/>
                  </a:lnTo>
                  <a:lnTo>
                    <a:pt x="239785" y="28017"/>
                  </a:lnTo>
                  <a:lnTo>
                    <a:pt x="253264" y="16518"/>
                  </a:lnTo>
                  <a:lnTo>
                    <a:pt x="278049" y="10958"/>
                  </a:lnTo>
                  <a:lnTo>
                    <a:pt x="304537" y="7880"/>
                  </a:lnTo>
                  <a:lnTo>
                    <a:pt x="316271" y="298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31" name="Freeform 129">
              <a:extLst>
                <a:ext uri="{FF2B5EF4-FFF2-40B4-BE49-F238E27FC236}">
                  <a16:creationId xmlns:a16="http://schemas.microsoft.com/office/drawing/2014/main" id="{9D1E4E28-E81D-6047-A94A-B0CDF4C3C5AD}"/>
                </a:ext>
              </a:extLst>
            </p:cNvPr>
            <p:cNvSpPr>
              <a:spLocks noChangeAspect="1"/>
            </p:cNvSpPr>
            <p:nvPr>
              <p:custDataLst>
                <p:tags r:id="rId135"/>
              </p:custDataLst>
            </p:nvPr>
          </p:nvSpPr>
          <p:spPr>
            <a:xfrm>
              <a:off x="7065382" y="4095987"/>
              <a:ext cx="216127" cy="303029"/>
            </a:xfrm>
            <a:custGeom>
              <a:avLst/>
              <a:gdLst/>
              <a:ahLst/>
              <a:cxnLst/>
              <a:rect l="l" t="t" r="r" b="b"/>
              <a:pathLst>
                <a:path w="216127" h="303029">
                  <a:moveTo>
                    <a:pt x="190152" y="205988"/>
                  </a:moveTo>
                  <a:lnTo>
                    <a:pt x="208862" y="217033"/>
                  </a:lnTo>
                  <a:lnTo>
                    <a:pt x="210799" y="228750"/>
                  </a:lnTo>
                  <a:lnTo>
                    <a:pt x="212420" y="237301"/>
                  </a:lnTo>
                  <a:lnTo>
                    <a:pt x="214767" y="252734"/>
                  </a:lnTo>
                  <a:lnTo>
                    <a:pt x="216127" y="265754"/>
                  </a:lnTo>
                  <a:lnTo>
                    <a:pt x="208264" y="286971"/>
                  </a:lnTo>
                  <a:lnTo>
                    <a:pt x="199830" y="263333"/>
                  </a:lnTo>
                  <a:lnTo>
                    <a:pt x="189038" y="275099"/>
                  </a:lnTo>
                  <a:lnTo>
                    <a:pt x="196408" y="292175"/>
                  </a:lnTo>
                  <a:lnTo>
                    <a:pt x="189791" y="303029"/>
                  </a:lnTo>
                  <a:lnTo>
                    <a:pt x="162630" y="289587"/>
                  </a:lnTo>
                  <a:lnTo>
                    <a:pt x="156142" y="272811"/>
                  </a:lnTo>
                  <a:lnTo>
                    <a:pt x="163181" y="261781"/>
                  </a:lnTo>
                  <a:lnTo>
                    <a:pt x="148559" y="250803"/>
                  </a:lnTo>
                  <a:lnTo>
                    <a:pt x="141308" y="260429"/>
                  </a:lnTo>
                  <a:lnTo>
                    <a:pt x="130445" y="259536"/>
                  </a:lnTo>
                  <a:lnTo>
                    <a:pt x="113364" y="272480"/>
                  </a:lnTo>
                  <a:lnTo>
                    <a:pt x="109543" y="265691"/>
                  </a:lnTo>
                  <a:lnTo>
                    <a:pt x="118600" y="246125"/>
                  </a:lnTo>
                  <a:lnTo>
                    <a:pt x="133144" y="239590"/>
                  </a:lnTo>
                  <a:lnTo>
                    <a:pt x="145731" y="230831"/>
                  </a:lnTo>
                  <a:lnTo>
                    <a:pt x="153890" y="241354"/>
                  </a:lnTo>
                  <a:lnTo>
                    <a:pt x="171440" y="234989"/>
                  </a:lnTo>
                  <a:lnTo>
                    <a:pt x="175206" y="224612"/>
                  </a:lnTo>
                  <a:lnTo>
                    <a:pt x="191520" y="223993"/>
                  </a:lnTo>
                  <a:close/>
                  <a:moveTo>
                    <a:pt x="159355" y="171633"/>
                  </a:moveTo>
                  <a:lnTo>
                    <a:pt x="157151" y="193903"/>
                  </a:lnTo>
                  <a:lnTo>
                    <a:pt x="148858" y="201567"/>
                  </a:lnTo>
                  <a:lnTo>
                    <a:pt x="141628" y="216284"/>
                  </a:lnTo>
                  <a:lnTo>
                    <a:pt x="134379" y="223174"/>
                  </a:lnTo>
                  <a:lnTo>
                    <a:pt x="120164" y="207083"/>
                  </a:lnTo>
                  <a:lnTo>
                    <a:pt x="124919" y="200845"/>
                  </a:lnTo>
                  <a:lnTo>
                    <a:pt x="130713" y="194314"/>
                  </a:lnTo>
                  <a:lnTo>
                    <a:pt x="133260" y="179829"/>
                  </a:lnTo>
                  <a:lnTo>
                    <a:pt x="145989" y="178457"/>
                  </a:lnTo>
                  <a:lnTo>
                    <a:pt x="142270" y="194169"/>
                  </a:lnTo>
                  <a:close/>
                  <a:moveTo>
                    <a:pt x="53949" y="168432"/>
                  </a:moveTo>
                  <a:lnTo>
                    <a:pt x="58062" y="187476"/>
                  </a:lnTo>
                  <a:lnTo>
                    <a:pt x="42823" y="200318"/>
                  </a:lnTo>
                  <a:lnTo>
                    <a:pt x="30707" y="216328"/>
                  </a:lnTo>
                  <a:lnTo>
                    <a:pt x="0" y="238398"/>
                  </a:lnTo>
                  <a:lnTo>
                    <a:pt x="11316" y="222134"/>
                  </a:lnTo>
                  <a:lnTo>
                    <a:pt x="27991" y="207755"/>
                  </a:lnTo>
                  <a:lnTo>
                    <a:pt x="41851" y="191629"/>
                  </a:lnTo>
                  <a:close/>
                  <a:moveTo>
                    <a:pt x="108703" y="156220"/>
                  </a:moveTo>
                  <a:lnTo>
                    <a:pt x="122558" y="163463"/>
                  </a:lnTo>
                  <a:lnTo>
                    <a:pt x="137248" y="163428"/>
                  </a:lnTo>
                  <a:lnTo>
                    <a:pt x="136802" y="173193"/>
                  </a:lnTo>
                  <a:lnTo>
                    <a:pt x="126111" y="183111"/>
                  </a:lnTo>
                  <a:lnTo>
                    <a:pt x="111451" y="190119"/>
                  </a:lnTo>
                  <a:lnTo>
                    <a:pt x="110638" y="179273"/>
                  </a:lnTo>
                  <a:lnTo>
                    <a:pt x="112277" y="167352"/>
                  </a:lnTo>
                  <a:close/>
                  <a:moveTo>
                    <a:pt x="163714" y="140620"/>
                  </a:moveTo>
                  <a:lnTo>
                    <a:pt x="185882" y="141137"/>
                  </a:lnTo>
                  <a:lnTo>
                    <a:pt x="192239" y="149877"/>
                  </a:lnTo>
                  <a:lnTo>
                    <a:pt x="198723" y="175993"/>
                  </a:lnTo>
                  <a:lnTo>
                    <a:pt x="180914" y="169793"/>
                  </a:lnTo>
                  <a:lnTo>
                    <a:pt x="181395" y="177635"/>
                  </a:lnTo>
                  <a:lnTo>
                    <a:pt x="187043" y="192038"/>
                  </a:lnTo>
                  <a:lnTo>
                    <a:pt x="176064" y="197263"/>
                  </a:lnTo>
                  <a:lnTo>
                    <a:pt x="175103" y="180853"/>
                  </a:lnTo>
                  <a:lnTo>
                    <a:pt x="168153" y="179641"/>
                  </a:lnTo>
                  <a:lnTo>
                    <a:pt x="164539" y="165493"/>
                  </a:lnTo>
                  <a:lnTo>
                    <a:pt x="178123" y="167359"/>
                  </a:lnTo>
                  <a:lnTo>
                    <a:pt x="177822" y="158503"/>
                  </a:lnTo>
                  <a:close/>
                  <a:moveTo>
                    <a:pt x="72691" y="119295"/>
                  </a:moveTo>
                  <a:lnTo>
                    <a:pt x="92466" y="120158"/>
                  </a:lnTo>
                  <a:lnTo>
                    <a:pt x="100482" y="128614"/>
                  </a:lnTo>
                  <a:lnTo>
                    <a:pt x="94360" y="148873"/>
                  </a:lnTo>
                  <a:lnTo>
                    <a:pt x="84474" y="137180"/>
                  </a:lnTo>
                  <a:close/>
                  <a:moveTo>
                    <a:pt x="81750" y="0"/>
                  </a:moveTo>
                  <a:lnTo>
                    <a:pt x="95725" y="27"/>
                  </a:lnTo>
                  <a:lnTo>
                    <a:pt x="109951" y="6840"/>
                  </a:lnTo>
                  <a:lnTo>
                    <a:pt x="117070" y="627"/>
                  </a:lnTo>
                  <a:lnTo>
                    <a:pt x="119169" y="6690"/>
                  </a:lnTo>
                  <a:lnTo>
                    <a:pt x="115414" y="16571"/>
                  </a:lnTo>
                  <a:lnTo>
                    <a:pt x="123294" y="33619"/>
                  </a:lnTo>
                  <a:lnTo>
                    <a:pt x="117215" y="53335"/>
                  </a:lnTo>
                  <a:lnTo>
                    <a:pt x="103607" y="61183"/>
                  </a:lnTo>
                  <a:lnTo>
                    <a:pt x="99967" y="80238"/>
                  </a:lnTo>
                  <a:lnTo>
                    <a:pt x="105131" y="99018"/>
                  </a:lnTo>
                  <a:lnTo>
                    <a:pt x="117368" y="101612"/>
                  </a:lnTo>
                  <a:lnTo>
                    <a:pt x="127578" y="98826"/>
                  </a:lnTo>
                  <a:lnTo>
                    <a:pt x="156409" y="111873"/>
                  </a:lnTo>
                  <a:lnTo>
                    <a:pt x="154212" y="124665"/>
                  </a:lnTo>
                  <a:lnTo>
                    <a:pt x="161741" y="130305"/>
                  </a:lnTo>
                  <a:lnTo>
                    <a:pt x="159344" y="141114"/>
                  </a:lnTo>
                  <a:lnTo>
                    <a:pt x="141353" y="129601"/>
                  </a:lnTo>
                  <a:lnTo>
                    <a:pt x="132827" y="117262"/>
                  </a:lnTo>
                  <a:lnTo>
                    <a:pt x="126888" y="125885"/>
                  </a:lnTo>
                  <a:lnTo>
                    <a:pt x="112191" y="111818"/>
                  </a:lnTo>
                  <a:lnTo>
                    <a:pt x="91225" y="115293"/>
                  </a:lnTo>
                  <a:lnTo>
                    <a:pt x="79736" y="110097"/>
                  </a:lnTo>
                  <a:lnTo>
                    <a:pt x="80907" y="100368"/>
                  </a:lnTo>
                  <a:lnTo>
                    <a:pt x="88119" y="94376"/>
                  </a:lnTo>
                  <a:lnTo>
                    <a:pt x="81230" y="88924"/>
                  </a:lnTo>
                  <a:lnTo>
                    <a:pt x="78248" y="97418"/>
                  </a:lnTo>
                  <a:lnTo>
                    <a:pt x="66851" y="83871"/>
                  </a:lnTo>
                  <a:lnTo>
                    <a:pt x="63400" y="73589"/>
                  </a:lnTo>
                  <a:lnTo>
                    <a:pt x="62543" y="50935"/>
                  </a:lnTo>
                  <a:lnTo>
                    <a:pt x="71838" y="58730"/>
                  </a:lnTo>
                  <a:lnTo>
                    <a:pt x="74229" y="21598"/>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32" name="Freeform 130">
              <a:extLst>
                <a:ext uri="{FF2B5EF4-FFF2-40B4-BE49-F238E27FC236}">
                  <a16:creationId xmlns:a16="http://schemas.microsoft.com/office/drawing/2014/main" id="{EB9B31C6-D489-454C-8AA3-044063C56F27}"/>
                </a:ext>
              </a:extLst>
            </p:cNvPr>
            <p:cNvSpPr>
              <a:spLocks noChangeAspect="1"/>
            </p:cNvSpPr>
            <p:nvPr>
              <p:custDataLst>
                <p:tags r:id="rId136"/>
              </p:custDataLst>
            </p:nvPr>
          </p:nvSpPr>
          <p:spPr>
            <a:xfrm>
              <a:off x="7615348" y="4585689"/>
              <a:ext cx="346697" cy="189081"/>
            </a:xfrm>
            <a:custGeom>
              <a:avLst/>
              <a:gdLst/>
              <a:ahLst/>
              <a:cxnLst/>
              <a:rect l="l" t="t" r="r" b="b"/>
              <a:pathLst>
                <a:path w="346697" h="189081">
                  <a:moveTo>
                    <a:pt x="315131" y="58771"/>
                  </a:moveTo>
                  <a:lnTo>
                    <a:pt x="317614" y="65657"/>
                  </a:lnTo>
                  <a:lnTo>
                    <a:pt x="324605" y="70908"/>
                  </a:lnTo>
                  <a:lnTo>
                    <a:pt x="335797" y="85588"/>
                  </a:lnTo>
                  <a:lnTo>
                    <a:pt x="346697" y="93453"/>
                  </a:lnTo>
                  <a:lnTo>
                    <a:pt x="343466" y="99944"/>
                  </a:lnTo>
                  <a:lnTo>
                    <a:pt x="337002" y="102262"/>
                  </a:lnTo>
                  <a:lnTo>
                    <a:pt x="327008" y="93358"/>
                  </a:lnTo>
                  <a:lnTo>
                    <a:pt x="316902" y="78643"/>
                  </a:lnTo>
                  <a:lnTo>
                    <a:pt x="311938" y="61008"/>
                  </a:lnTo>
                  <a:close/>
                  <a:moveTo>
                    <a:pt x="257063" y="38100"/>
                  </a:moveTo>
                  <a:lnTo>
                    <a:pt x="261725" y="41897"/>
                  </a:lnTo>
                  <a:lnTo>
                    <a:pt x="261262" y="54727"/>
                  </a:lnTo>
                  <a:lnTo>
                    <a:pt x="253508" y="68853"/>
                  </a:lnTo>
                  <a:lnTo>
                    <a:pt x="241420" y="70757"/>
                  </a:lnTo>
                  <a:lnTo>
                    <a:pt x="237780" y="77251"/>
                  </a:lnTo>
                  <a:lnTo>
                    <a:pt x="225155" y="82880"/>
                  </a:lnTo>
                  <a:lnTo>
                    <a:pt x="213307" y="88302"/>
                  </a:lnTo>
                  <a:lnTo>
                    <a:pt x="201045" y="88273"/>
                  </a:lnTo>
                  <a:lnTo>
                    <a:pt x="182119" y="81543"/>
                  </a:lnTo>
                  <a:lnTo>
                    <a:pt x="168937" y="75083"/>
                  </a:lnTo>
                  <a:lnTo>
                    <a:pt x="170850" y="67920"/>
                  </a:lnTo>
                  <a:lnTo>
                    <a:pt x="191545" y="71300"/>
                  </a:lnTo>
                  <a:lnTo>
                    <a:pt x="204175" y="69489"/>
                  </a:lnTo>
                  <a:lnTo>
                    <a:pt x="207653" y="58393"/>
                  </a:lnTo>
                  <a:lnTo>
                    <a:pt x="210966" y="57820"/>
                  </a:lnTo>
                  <a:lnTo>
                    <a:pt x="213208" y="70107"/>
                  </a:lnTo>
                  <a:lnTo>
                    <a:pt x="226378" y="68339"/>
                  </a:lnTo>
                  <a:lnTo>
                    <a:pt x="232892" y="60420"/>
                  </a:lnTo>
                  <a:lnTo>
                    <a:pt x="245778" y="52169"/>
                  </a:lnTo>
                  <a:lnTo>
                    <a:pt x="243237" y="38540"/>
                  </a:lnTo>
                  <a:close/>
                  <a:moveTo>
                    <a:pt x="0" y="2313"/>
                  </a:moveTo>
                  <a:lnTo>
                    <a:pt x="40050" y="18231"/>
                  </a:lnTo>
                  <a:lnTo>
                    <a:pt x="82723" y="31457"/>
                  </a:lnTo>
                  <a:lnTo>
                    <a:pt x="98632" y="43302"/>
                  </a:lnTo>
                  <a:lnTo>
                    <a:pt x="111480" y="54931"/>
                  </a:lnTo>
                  <a:lnTo>
                    <a:pt x="114992" y="68565"/>
                  </a:lnTo>
                  <a:lnTo>
                    <a:pt x="153451" y="82878"/>
                  </a:lnTo>
                  <a:lnTo>
                    <a:pt x="159061" y="95168"/>
                  </a:lnTo>
                  <a:lnTo>
                    <a:pt x="137820" y="97664"/>
                  </a:lnTo>
                  <a:lnTo>
                    <a:pt x="142921" y="113120"/>
                  </a:lnTo>
                  <a:lnTo>
                    <a:pt x="163528" y="128353"/>
                  </a:lnTo>
                  <a:lnTo>
                    <a:pt x="178520" y="153010"/>
                  </a:lnTo>
                  <a:lnTo>
                    <a:pt x="191740" y="152237"/>
                  </a:lnTo>
                  <a:lnTo>
                    <a:pt x="190812" y="162548"/>
                  </a:lnTo>
                  <a:lnTo>
                    <a:pt x="208633" y="166506"/>
                  </a:lnTo>
                  <a:lnTo>
                    <a:pt x="201711" y="170901"/>
                  </a:lnTo>
                  <a:lnTo>
                    <a:pt x="226243" y="180710"/>
                  </a:lnTo>
                  <a:lnTo>
                    <a:pt x="223680" y="187453"/>
                  </a:lnTo>
                  <a:lnTo>
                    <a:pt x="208395" y="189081"/>
                  </a:lnTo>
                  <a:lnTo>
                    <a:pt x="202715" y="183032"/>
                  </a:lnTo>
                  <a:lnTo>
                    <a:pt x="182883" y="180412"/>
                  </a:lnTo>
                  <a:lnTo>
                    <a:pt x="159567" y="176903"/>
                  </a:lnTo>
                  <a:lnTo>
                    <a:pt x="141618" y="162037"/>
                  </a:lnTo>
                  <a:lnTo>
                    <a:pt x="128517" y="149238"/>
                  </a:lnTo>
                  <a:lnTo>
                    <a:pt x="116528" y="128894"/>
                  </a:lnTo>
                  <a:lnTo>
                    <a:pt x="86421" y="118739"/>
                  </a:lnTo>
                  <a:lnTo>
                    <a:pt x="66868" y="125362"/>
                  </a:lnTo>
                  <a:lnTo>
                    <a:pt x="52772" y="133032"/>
                  </a:lnTo>
                  <a:lnTo>
                    <a:pt x="55716" y="150181"/>
                  </a:lnTo>
                  <a:lnTo>
                    <a:pt x="37584" y="158181"/>
                  </a:lnTo>
                  <a:lnTo>
                    <a:pt x="24654" y="154288"/>
                  </a:lnTo>
                  <a:lnTo>
                    <a:pt x="777" y="153318"/>
                  </a:lnTo>
                  <a:lnTo>
                    <a:pt x="389" y="77674"/>
                  </a:lnTo>
                  <a:close/>
                  <a:moveTo>
                    <a:pt x="229437" y="0"/>
                  </a:moveTo>
                  <a:lnTo>
                    <a:pt x="241902" y="6467"/>
                  </a:lnTo>
                  <a:lnTo>
                    <a:pt x="249751" y="11549"/>
                  </a:lnTo>
                  <a:lnTo>
                    <a:pt x="259445" y="17095"/>
                  </a:lnTo>
                  <a:lnTo>
                    <a:pt x="268679" y="26801"/>
                  </a:lnTo>
                  <a:lnTo>
                    <a:pt x="277449" y="34198"/>
                  </a:lnTo>
                  <a:lnTo>
                    <a:pt x="280220" y="46222"/>
                  </a:lnTo>
                  <a:lnTo>
                    <a:pt x="273002" y="52385"/>
                  </a:lnTo>
                  <a:lnTo>
                    <a:pt x="268648" y="38733"/>
                  </a:lnTo>
                  <a:lnTo>
                    <a:pt x="263277" y="29800"/>
                  </a:lnTo>
                  <a:lnTo>
                    <a:pt x="252825" y="22226"/>
                  </a:lnTo>
                  <a:lnTo>
                    <a:pt x="239693" y="12368"/>
                  </a:lnTo>
                  <a:lnTo>
                    <a:pt x="223022" y="5578"/>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33" name="Freeform 131">
              <a:extLst>
                <a:ext uri="{FF2B5EF4-FFF2-40B4-BE49-F238E27FC236}">
                  <a16:creationId xmlns:a16="http://schemas.microsoft.com/office/drawing/2014/main" id="{2B122992-E53A-B146-ACEC-F3C3CB21A6DA}"/>
                </a:ext>
              </a:extLst>
            </p:cNvPr>
            <p:cNvSpPr>
              <a:spLocks noChangeAspect="1"/>
            </p:cNvSpPr>
            <p:nvPr>
              <p:custDataLst>
                <p:tags r:id="rId137"/>
              </p:custDataLst>
            </p:nvPr>
          </p:nvSpPr>
          <p:spPr>
            <a:xfrm>
              <a:off x="4685564" y="3116120"/>
              <a:ext cx="229800" cy="179771"/>
            </a:xfrm>
            <a:custGeom>
              <a:avLst/>
              <a:gdLst/>
              <a:ahLst/>
              <a:cxnLst/>
              <a:rect l="0" t="0" r="0" b="0"/>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34" name="Freeform 132">
              <a:extLst>
                <a:ext uri="{FF2B5EF4-FFF2-40B4-BE49-F238E27FC236}">
                  <a16:creationId xmlns:a16="http://schemas.microsoft.com/office/drawing/2014/main" id="{2A539102-4880-BF4E-B9E5-A672867FA81D}"/>
                </a:ext>
              </a:extLst>
            </p:cNvPr>
            <p:cNvSpPr>
              <a:spLocks noChangeAspect="1"/>
            </p:cNvSpPr>
            <p:nvPr>
              <p:custDataLst>
                <p:tags r:id="rId138"/>
              </p:custDataLst>
            </p:nvPr>
          </p:nvSpPr>
          <p:spPr>
            <a:xfrm>
              <a:off x="7229070" y="3470184"/>
              <a:ext cx="150370" cy="145179"/>
            </a:xfrm>
            <a:custGeom>
              <a:avLst/>
              <a:gdLst/>
              <a:ahLst/>
              <a:cxnLst/>
              <a:rect l="0" t="0" r="0" b="0"/>
              <a:pathLst>
                <a:path w="150370" h="145179">
                  <a:moveTo>
                    <a:pt x="147138" y="16467"/>
                  </a:moveTo>
                  <a:lnTo>
                    <a:pt x="150369" y="21331"/>
                  </a:lnTo>
                  <a:lnTo>
                    <a:pt x="141598" y="19664"/>
                  </a:lnTo>
                  <a:lnTo>
                    <a:pt x="131578" y="29059"/>
                  </a:lnTo>
                  <a:lnTo>
                    <a:pt x="124686" y="38468"/>
                  </a:lnTo>
                  <a:lnTo>
                    <a:pt x="125559" y="58236"/>
                  </a:lnTo>
                  <a:lnTo>
                    <a:pt x="113624" y="64293"/>
                  </a:lnTo>
                  <a:lnTo>
                    <a:pt x="109522" y="69118"/>
                  </a:lnTo>
                  <a:lnTo>
                    <a:pt x="100819" y="77187"/>
                  </a:lnTo>
                  <a:lnTo>
                    <a:pt x="85447" y="81667"/>
                  </a:lnTo>
                  <a:lnTo>
                    <a:pt x="75429" y="88970"/>
                  </a:lnTo>
                  <a:lnTo>
                    <a:pt x="74707" y="100707"/>
                  </a:lnTo>
                  <a:lnTo>
                    <a:pt x="72013" y="103694"/>
                  </a:lnTo>
                  <a:lnTo>
                    <a:pt x="81198" y="108087"/>
                  </a:lnTo>
                  <a:lnTo>
                    <a:pt x="94271" y="119907"/>
                  </a:lnTo>
                  <a:lnTo>
                    <a:pt x="90948" y="126406"/>
                  </a:lnTo>
                  <a:lnTo>
                    <a:pt x="81122" y="128173"/>
                  </a:lnTo>
                  <a:lnTo>
                    <a:pt x="64808" y="129472"/>
                  </a:lnTo>
                  <a:lnTo>
                    <a:pt x="55816" y="141554"/>
                  </a:lnTo>
                  <a:lnTo>
                    <a:pt x="45512" y="140603"/>
                  </a:lnTo>
                  <a:lnTo>
                    <a:pt x="44067" y="143026"/>
                  </a:lnTo>
                  <a:lnTo>
                    <a:pt x="32857" y="137939"/>
                  </a:lnTo>
                  <a:lnTo>
                    <a:pt x="30072" y="142961"/>
                  </a:lnTo>
                  <a:lnTo>
                    <a:pt x="23306" y="145178"/>
                  </a:lnTo>
                  <a:lnTo>
                    <a:pt x="22493" y="140152"/>
                  </a:lnTo>
                  <a:lnTo>
                    <a:pt x="16513" y="137703"/>
                  </a:lnTo>
                  <a:lnTo>
                    <a:pt x="10307" y="133433"/>
                  </a:lnTo>
                  <a:lnTo>
                    <a:pt x="16627" y="121622"/>
                  </a:lnTo>
                  <a:lnTo>
                    <a:pt x="22074" y="118465"/>
                  </a:lnTo>
                  <a:lnTo>
                    <a:pt x="20018" y="113545"/>
                  </a:lnTo>
                  <a:lnTo>
                    <a:pt x="25875" y="98974"/>
                  </a:lnTo>
                  <a:lnTo>
                    <a:pt x="24363" y="94546"/>
                  </a:lnTo>
                  <a:lnTo>
                    <a:pt x="10891" y="91590"/>
                  </a:lnTo>
                  <a:lnTo>
                    <a:pt x="0" y="84305"/>
                  </a:lnTo>
                  <a:lnTo>
                    <a:pt x="18796" y="66810"/>
                  </a:lnTo>
                  <a:lnTo>
                    <a:pt x="44236" y="52071"/>
                  </a:lnTo>
                  <a:lnTo>
                    <a:pt x="60094" y="32513"/>
                  </a:lnTo>
                  <a:lnTo>
                    <a:pt x="71052" y="41172"/>
                  </a:lnTo>
                  <a:lnTo>
                    <a:pt x="91010" y="42175"/>
                  </a:lnTo>
                  <a:lnTo>
                    <a:pt x="87404" y="27592"/>
                  </a:lnTo>
                  <a:lnTo>
                    <a:pt x="123054" y="15633"/>
                  </a:lnTo>
                  <a:lnTo>
                    <a:pt x="132232" y="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35" name="Freeform 133">
              <a:extLst>
                <a:ext uri="{FF2B5EF4-FFF2-40B4-BE49-F238E27FC236}">
                  <a16:creationId xmlns:a16="http://schemas.microsoft.com/office/drawing/2014/main" id="{04A9B064-E307-994D-A210-AC62A0FA068C}"/>
                </a:ext>
              </a:extLst>
            </p:cNvPr>
            <p:cNvSpPr>
              <a:spLocks noChangeAspect="1"/>
            </p:cNvSpPr>
            <p:nvPr>
              <p:custDataLst>
                <p:tags r:id="rId139"/>
              </p:custDataLst>
            </p:nvPr>
          </p:nvSpPr>
          <p:spPr>
            <a:xfrm>
              <a:off x="4140788" y="3489835"/>
              <a:ext cx="72422" cy="147628"/>
            </a:xfrm>
            <a:custGeom>
              <a:avLst/>
              <a:gdLst/>
              <a:ahLst/>
              <a:cxnLst/>
              <a:rect l="0" t="0" r="0" b="0"/>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36" name="Freeform 134">
              <a:extLst>
                <a:ext uri="{FF2B5EF4-FFF2-40B4-BE49-F238E27FC236}">
                  <a16:creationId xmlns:a16="http://schemas.microsoft.com/office/drawing/2014/main" id="{BDDBD22B-2CF3-634A-B661-2BA4910E2BB0}"/>
                </a:ext>
              </a:extLst>
            </p:cNvPr>
            <p:cNvSpPr>
              <a:spLocks noChangeAspect="1"/>
            </p:cNvSpPr>
            <p:nvPr>
              <p:custDataLst>
                <p:tags r:id="rId140"/>
              </p:custDataLst>
            </p:nvPr>
          </p:nvSpPr>
          <p:spPr>
            <a:xfrm>
              <a:off x="5531992" y="3911357"/>
              <a:ext cx="19916" cy="38345"/>
            </a:xfrm>
            <a:custGeom>
              <a:avLst/>
              <a:gdLst/>
              <a:ahLst/>
              <a:cxnLst/>
              <a:rect l="0" t="0" r="0" b="0"/>
              <a:pathLst>
                <a:path w="19916" h="38345">
                  <a:moveTo>
                    <a:pt x="1528" y="33479"/>
                  </a:moveTo>
                  <a:lnTo>
                    <a:pt x="0" y="15592"/>
                  </a:lnTo>
                  <a:lnTo>
                    <a:pt x="6219" y="2658"/>
                  </a:lnTo>
                  <a:lnTo>
                    <a:pt x="12523" y="0"/>
                  </a:lnTo>
                  <a:lnTo>
                    <a:pt x="19508" y="7738"/>
                  </a:lnTo>
                  <a:lnTo>
                    <a:pt x="19915" y="22157"/>
                  </a:lnTo>
                  <a:lnTo>
                    <a:pt x="14904" y="36602"/>
                  </a:lnTo>
                  <a:lnTo>
                    <a:pt x="8506" y="3834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37" name="Freeform 135">
              <a:extLst>
                <a:ext uri="{FF2B5EF4-FFF2-40B4-BE49-F238E27FC236}">
                  <a16:creationId xmlns:a16="http://schemas.microsoft.com/office/drawing/2014/main" id="{EB6DC9E1-C262-2A4A-9CD7-236EF2403162}"/>
                </a:ext>
              </a:extLst>
            </p:cNvPr>
            <p:cNvSpPr>
              <a:spLocks noChangeAspect="1"/>
            </p:cNvSpPr>
            <p:nvPr>
              <p:custDataLst>
                <p:tags r:id="rId141"/>
              </p:custDataLst>
            </p:nvPr>
          </p:nvSpPr>
          <p:spPr>
            <a:xfrm>
              <a:off x="4827423" y="3319811"/>
              <a:ext cx="217124" cy="130641"/>
            </a:xfrm>
            <a:custGeom>
              <a:avLst/>
              <a:gdLst/>
              <a:ahLst/>
              <a:cxnLst/>
              <a:rect l="0" t="0" r="0" b="0"/>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38" name="Freeform 136">
              <a:extLst>
                <a:ext uri="{FF2B5EF4-FFF2-40B4-BE49-F238E27FC236}">
                  <a16:creationId xmlns:a16="http://schemas.microsoft.com/office/drawing/2014/main" id="{6705DD95-0A11-534A-ABA0-9B2C82EAF539}"/>
                </a:ext>
              </a:extLst>
            </p:cNvPr>
            <p:cNvSpPr>
              <a:spLocks noChangeAspect="1"/>
            </p:cNvSpPr>
            <p:nvPr>
              <p:custDataLst>
                <p:tags r:id="rId142"/>
              </p:custDataLst>
            </p:nvPr>
          </p:nvSpPr>
          <p:spPr>
            <a:xfrm>
              <a:off x="4814506" y="2037516"/>
              <a:ext cx="3934206" cy="1483526"/>
            </a:xfrm>
            <a:custGeom>
              <a:avLst/>
              <a:gdLst/>
              <a:ahLst/>
              <a:cxnLst/>
              <a:rect l="l" t="t" r="r" b="b"/>
              <a:pathLst>
                <a:path w="3934206" h="1483526">
                  <a:moveTo>
                    <a:pt x="2839034" y="1094106"/>
                  </a:moveTo>
                  <a:lnTo>
                    <a:pt x="2845032" y="1115055"/>
                  </a:lnTo>
                  <a:lnTo>
                    <a:pt x="2853023" y="1145269"/>
                  </a:lnTo>
                  <a:lnTo>
                    <a:pt x="2852433" y="1175741"/>
                  </a:lnTo>
                  <a:lnTo>
                    <a:pt x="2861960" y="1206604"/>
                  </a:lnTo>
                  <a:lnTo>
                    <a:pt x="2885184" y="1259892"/>
                  </a:lnTo>
                  <a:lnTo>
                    <a:pt x="2851017" y="1250042"/>
                  </a:lnTo>
                  <a:lnTo>
                    <a:pt x="2836815" y="1292882"/>
                  </a:lnTo>
                  <a:lnTo>
                    <a:pt x="2859317" y="1322853"/>
                  </a:lnTo>
                  <a:lnTo>
                    <a:pt x="2858666" y="1343101"/>
                  </a:lnTo>
                  <a:lnTo>
                    <a:pt x="2841178" y="1325642"/>
                  </a:lnTo>
                  <a:lnTo>
                    <a:pt x="2826044" y="1348038"/>
                  </a:lnTo>
                  <a:lnTo>
                    <a:pt x="2821771" y="1323749"/>
                  </a:lnTo>
                  <a:lnTo>
                    <a:pt x="2824345" y="1295276"/>
                  </a:lnTo>
                  <a:lnTo>
                    <a:pt x="2821714" y="1263380"/>
                  </a:lnTo>
                  <a:lnTo>
                    <a:pt x="2827054" y="1240801"/>
                  </a:lnTo>
                  <a:lnTo>
                    <a:pt x="2828074" y="1200372"/>
                  </a:lnTo>
                  <a:lnTo>
                    <a:pt x="2814550" y="1170233"/>
                  </a:lnTo>
                  <a:lnTo>
                    <a:pt x="2816592" y="1127722"/>
                  </a:lnTo>
                  <a:lnTo>
                    <a:pt x="2837929" y="1113239"/>
                  </a:lnTo>
                  <a:lnTo>
                    <a:pt x="2828761" y="1098569"/>
                  </a:lnTo>
                  <a:close/>
                  <a:moveTo>
                    <a:pt x="37112" y="1067723"/>
                  </a:moveTo>
                  <a:lnTo>
                    <a:pt x="61286" y="1073353"/>
                  </a:lnTo>
                  <a:lnTo>
                    <a:pt x="71490" y="1078441"/>
                  </a:lnTo>
                  <a:lnTo>
                    <a:pt x="69026" y="1087196"/>
                  </a:lnTo>
                  <a:lnTo>
                    <a:pt x="70874" y="1095325"/>
                  </a:lnTo>
                  <a:lnTo>
                    <a:pt x="28428" y="1095803"/>
                  </a:lnTo>
                  <a:lnTo>
                    <a:pt x="0" y="1092189"/>
                  </a:lnTo>
                  <a:lnTo>
                    <a:pt x="5259" y="1078134"/>
                  </a:lnTo>
                  <a:close/>
                  <a:moveTo>
                    <a:pt x="3704019" y="465997"/>
                  </a:moveTo>
                  <a:lnTo>
                    <a:pt x="3723583" y="466086"/>
                  </a:lnTo>
                  <a:lnTo>
                    <a:pt x="3756969" y="478252"/>
                  </a:lnTo>
                  <a:lnTo>
                    <a:pt x="3754992" y="484040"/>
                  </a:lnTo>
                  <a:lnTo>
                    <a:pt x="3731212" y="494149"/>
                  </a:lnTo>
                  <a:lnTo>
                    <a:pt x="3701062" y="496705"/>
                  </a:lnTo>
                  <a:lnTo>
                    <a:pt x="3675749" y="498849"/>
                  </a:lnTo>
                  <a:lnTo>
                    <a:pt x="3671638" y="485475"/>
                  </a:lnTo>
                  <a:lnTo>
                    <a:pt x="3701062" y="467783"/>
                  </a:lnTo>
                  <a:close/>
                  <a:moveTo>
                    <a:pt x="2825352" y="365319"/>
                  </a:moveTo>
                  <a:lnTo>
                    <a:pt x="2858147" y="382421"/>
                  </a:lnTo>
                  <a:lnTo>
                    <a:pt x="2860941" y="394089"/>
                  </a:lnTo>
                  <a:lnTo>
                    <a:pt x="2825942" y="394399"/>
                  </a:lnTo>
                  <a:lnTo>
                    <a:pt x="2778635" y="389459"/>
                  </a:lnTo>
                  <a:lnTo>
                    <a:pt x="2774594" y="387110"/>
                  </a:lnTo>
                  <a:lnTo>
                    <a:pt x="2796490" y="369471"/>
                  </a:lnTo>
                  <a:close/>
                  <a:moveTo>
                    <a:pt x="2924525" y="290217"/>
                  </a:moveTo>
                  <a:lnTo>
                    <a:pt x="2967545" y="297259"/>
                  </a:lnTo>
                  <a:lnTo>
                    <a:pt x="3025469" y="309407"/>
                  </a:lnTo>
                  <a:lnTo>
                    <a:pt x="2998792" y="327599"/>
                  </a:lnTo>
                  <a:lnTo>
                    <a:pt x="2961895" y="323497"/>
                  </a:lnTo>
                  <a:lnTo>
                    <a:pt x="2919002" y="305289"/>
                  </a:lnTo>
                  <a:close/>
                  <a:moveTo>
                    <a:pt x="2750772" y="260076"/>
                  </a:moveTo>
                  <a:lnTo>
                    <a:pt x="2811723" y="262158"/>
                  </a:lnTo>
                  <a:lnTo>
                    <a:pt x="2895160" y="287140"/>
                  </a:lnTo>
                  <a:lnTo>
                    <a:pt x="2877010" y="321584"/>
                  </a:lnTo>
                  <a:lnTo>
                    <a:pt x="2791923" y="320311"/>
                  </a:lnTo>
                  <a:lnTo>
                    <a:pt x="2753643" y="331144"/>
                  </a:lnTo>
                  <a:lnTo>
                    <a:pt x="2707915" y="301173"/>
                  </a:lnTo>
                  <a:lnTo>
                    <a:pt x="2720319" y="268961"/>
                  </a:lnTo>
                  <a:close/>
                  <a:moveTo>
                    <a:pt x="1119427" y="221565"/>
                  </a:moveTo>
                  <a:lnTo>
                    <a:pt x="1135473" y="240603"/>
                  </a:lnTo>
                  <a:lnTo>
                    <a:pt x="1119970" y="255471"/>
                  </a:lnTo>
                  <a:lnTo>
                    <a:pt x="1038182" y="278925"/>
                  </a:lnTo>
                  <a:lnTo>
                    <a:pt x="967692" y="301210"/>
                  </a:lnTo>
                  <a:lnTo>
                    <a:pt x="895987" y="344926"/>
                  </a:lnTo>
                  <a:lnTo>
                    <a:pt x="861587" y="388743"/>
                  </a:lnTo>
                  <a:lnTo>
                    <a:pt x="825406" y="430972"/>
                  </a:lnTo>
                  <a:lnTo>
                    <a:pt x="830103" y="466723"/>
                  </a:lnTo>
                  <a:lnTo>
                    <a:pt x="874257" y="501393"/>
                  </a:lnTo>
                  <a:lnTo>
                    <a:pt x="860622" y="505066"/>
                  </a:lnTo>
                  <a:lnTo>
                    <a:pt x="785197" y="499624"/>
                  </a:lnTo>
                  <a:lnTo>
                    <a:pt x="779072" y="480913"/>
                  </a:lnTo>
                  <a:lnTo>
                    <a:pt x="737289" y="469528"/>
                  </a:lnTo>
                  <a:lnTo>
                    <a:pt x="733916" y="446390"/>
                  </a:lnTo>
                  <a:lnTo>
                    <a:pt x="757518" y="437122"/>
                  </a:lnTo>
                  <a:lnTo>
                    <a:pt x="756731" y="413368"/>
                  </a:lnTo>
                  <a:lnTo>
                    <a:pt x="802514" y="375627"/>
                  </a:lnTo>
                  <a:lnTo>
                    <a:pt x="781294" y="370154"/>
                  </a:lnTo>
                  <a:lnTo>
                    <a:pt x="836558" y="330412"/>
                  </a:lnTo>
                  <a:lnTo>
                    <a:pt x="830313" y="309530"/>
                  </a:lnTo>
                  <a:lnTo>
                    <a:pt x="881943" y="284949"/>
                  </a:lnTo>
                  <a:lnTo>
                    <a:pt x="958148" y="254602"/>
                  </a:lnTo>
                  <a:lnTo>
                    <a:pt x="1034974" y="245669"/>
                  </a:lnTo>
                  <a:lnTo>
                    <a:pt x="1074506" y="227850"/>
                  </a:lnTo>
                  <a:close/>
                  <a:moveTo>
                    <a:pt x="1954894" y="184460"/>
                  </a:moveTo>
                  <a:lnTo>
                    <a:pt x="1994481" y="200407"/>
                  </a:lnTo>
                  <a:lnTo>
                    <a:pt x="1963051" y="212448"/>
                  </a:lnTo>
                  <a:lnTo>
                    <a:pt x="2015337" y="219893"/>
                  </a:lnTo>
                  <a:lnTo>
                    <a:pt x="2021566" y="243709"/>
                  </a:lnTo>
                  <a:lnTo>
                    <a:pt x="2042658" y="232019"/>
                  </a:lnTo>
                  <a:lnTo>
                    <a:pt x="2110140" y="232662"/>
                  </a:lnTo>
                  <a:lnTo>
                    <a:pt x="2162174" y="256013"/>
                  </a:lnTo>
                  <a:lnTo>
                    <a:pt x="2180702" y="273753"/>
                  </a:lnTo>
                  <a:lnTo>
                    <a:pt x="2174959" y="298099"/>
                  </a:lnTo>
                  <a:lnTo>
                    <a:pt x="2149425" y="311820"/>
                  </a:lnTo>
                  <a:lnTo>
                    <a:pt x="2088765" y="337297"/>
                  </a:lnTo>
                  <a:lnTo>
                    <a:pt x="2071424" y="350778"/>
                  </a:lnTo>
                  <a:lnTo>
                    <a:pt x="2100047" y="357105"/>
                  </a:lnTo>
                  <a:lnTo>
                    <a:pt x="2134191" y="368454"/>
                  </a:lnTo>
                  <a:lnTo>
                    <a:pt x="2154973" y="359949"/>
                  </a:lnTo>
                  <a:lnTo>
                    <a:pt x="2166746" y="388654"/>
                  </a:lnTo>
                  <a:lnTo>
                    <a:pt x="2176885" y="377086"/>
                  </a:lnTo>
                  <a:lnTo>
                    <a:pt x="2213793" y="370018"/>
                  </a:lnTo>
                  <a:lnTo>
                    <a:pt x="2287855" y="377406"/>
                  </a:lnTo>
                  <a:lnTo>
                    <a:pt x="2293479" y="398177"/>
                  </a:lnTo>
                  <a:lnTo>
                    <a:pt x="2389980" y="404738"/>
                  </a:lnTo>
                  <a:lnTo>
                    <a:pt x="2391299" y="370817"/>
                  </a:lnTo>
                  <a:lnTo>
                    <a:pt x="2440285" y="378643"/>
                  </a:lnTo>
                  <a:lnTo>
                    <a:pt x="2477136" y="378398"/>
                  </a:lnTo>
                  <a:lnTo>
                    <a:pt x="2514410" y="401764"/>
                  </a:lnTo>
                  <a:lnTo>
                    <a:pt x="2525035" y="429779"/>
                  </a:lnTo>
                  <a:lnTo>
                    <a:pt x="2511380" y="447893"/>
                  </a:lnTo>
                  <a:lnTo>
                    <a:pt x="2540372" y="481490"/>
                  </a:lnTo>
                  <a:lnTo>
                    <a:pt x="2576671" y="498604"/>
                  </a:lnTo>
                  <a:lnTo>
                    <a:pt x="2598944" y="454071"/>
                  </a:lnTo>
                  <a:lnTo>
                    <a:pt x="2635972" y="473287"/>
                  </a:lnTo>
                  <a:lnTo>
                    <a:pt x="2675312" y="461827"/>
                  </a:lnTo>
                  <a:lnTo>
                    <a:pt x="2719990" y="474935"/>
                  </a:lnTo>
                  <a:lnTo>
                    <a:pt x="2736992" y="462990"/>
                  </a:lnTo>
                  <a:lnTo>
                    <a:pt x="2774749" y="468972"/>
                  </a:lnTo>
                  <a:lnTo>
                    <a:pt x="2758086" y="429020"/>
                  </a:lnTo>
                  <a:lnTo>
                    <a:pt x="2788561" y="410093"/>
                  </a:lnTo>
                  <a:lnTo>
                    <a:pt x="2997039" y="438397"/>
                  </a:lnTo>
                  <a:lnTo>
                    <a:pt x="3016687" y="463913"/>
                  </a:lnTo>
                  <a:lnTo>
                    <a:pt x="3077111" y="496285"/>
                  </a:lnTo>
                  <a:lnTo>
                    <a:pt x="3170319" y="488320"/>
                  </a:lnTo>
                  <a:lnTo>
                    <a:pt x="3216274" y="495255"/>
                  </a:lnTo>
                  <a:lnTo>
                    <a:pt x="3235491" y="512560"/>
                  </a:lnTo>
                  <a:lnTo>
                    <a:pt x="3232682" y="542801"/>
                  </a:lnTo>
                  <a:lnTo>
                    <a:pt x="3261118" y="554452"/>
                  </a:lnTo>
                  <a:lnTo>
                    <a:pt x="3292014" y="546079"/>
                  </a:lnTo>
                  <a:lnTo>
                    <a:pt x="3332949" y="545006"/>
                  </a:lnTo>
                  <a:lnTo>
                    <a:pt x="3376527" y="553035"/>
                  </a:lnTo>
                  <a:lnTo>
                    <a:pt x="3420276" y="548510"/>
                  </a:lnTo>
                  <a:lnTo>
                    <a:pt x="3460486" y="584562"/>
                  </a:lnTo>
                  <a:lnTo>
                    <a:pt x="3489090" y="571664"/>
                  </a:lnTo>
                  <a:lnTo>
                    <a:pt x="3470424" y="545640"/>
                  </a:lnTo>
                  <a:lnTo>
                    <a:pt x="3480701" y="527348"/>
                  </a:lnTo>
                  <a:lnTo>
                    <a:pt x="3554345" y="538880"/>
                  </a:lnTo>
                  <a:lnTo>
                    <a:pt x="3602361" y="536418"/>
                  </a:lnTo>
                  <a:lnTo>
                    <a:pt x="3668746" y="555972"/>
                  </a:lnTo>
                  <a:lnTo>
                    <a:pt x="3701062" y="573686"/>
                  </a:lnTo>
                  <a:lnTo>
                    <a:pt x="3757613" y="604316"/>
                  </a:lnTo>
                  <a:lnTo>
                    <a:pt x="3818130" y="643510"/>
                  </a:lnTo>
                  <a:lnTo>
                    <a:pt x="3816145" y="667638"/>
                  </a:lnTo>
                  <a:lnTo>
                    <a:pt x="3831713" y="677218"/>
                  </a:lnTo>
                  <a:lnTo>
                    <a:pt x="3826358" y="649113"/>
                  </a:lnTo>
                  <a:lnTo>
                    <a:pt x="3889016" y="654912"/>
                  </a:lnTo>
                  <a:lnTo>
                    <a:pt x="3934206" y="690938"/>
                  </a:lnTo>
                  <a:lnTo>
                    <a:pt x="3911320" y="707505"/>
                  </a:lnTo>
                  <a:lnTo>
                    <a:pt x="3873483" y="711419"/>
                  </a:lnTo>
                  <a:lnTo>
                    <a:pt x="3872912" y="748022"/>
                  </a:lnTo>
                  <a:lnTo>
                    <a:pt x="3863671" y="755735"/>
                  </a:lnTo>
                  <a:lnTo>
                    <a:pt x="3842054" y="754628"/>
                  </a:lnTo>
                  <a:lnTo>
                    <a:pt x="3824463" y="741682"/>
                  </a:lnTo>
                  <a:lnTo>
                    <a:pt x="3793772" y="730791"/>
                  </a:lnTo>
                  <a:lnTo>
                    <a:pt x="3788611" y="714487"/>
                  </a:lnTo>
                  <a:lnTo>
                    <a:pt x="3765169" y="708305"/>
                  </a:lnTo>
                  <a:lnTo>
                    <a:pt x="3738918" y="713209"/>
                  </a:lnTo>
                  <a:lnTo>
                    <a:pt x="3726376" y="699955"/>
                  </a:lnTo>
                  <a:lnTo>
                    <a:pt x="3731389" y="685785"/>
                  </a:lnTo>
                  <a:lnTo>
                    <a:pt x="3703744" y="694853"/>
                  </a:lnTo>
                  <a:lnTo>
                    <a:pt x="3714156" y="712696"/>
                  </a:lnTo>
                  <a:lnTo>
                    <a:pt x="3701062" y="728662"/>
                  </a:lnTo>
                  <a:lnTo>
                    <a:pt x="3700896" y="728864"/>
                  </a:lnTo>
                  <a:lnTo>
                    <a:pt x="3671220" y="745267"/>
                  </a:lnTo>
                  <a:lnTo>
                    <a:pt x="3641306" y="742540"/>
                  </a:lnTo>
                  <a:lnTo>
                    <a:pt x="3662121" y="762266"/>
                  </a:lnTo>
                  <a:lnTo>
                    <a:pt x="3675861" y="792443"/>
                  </a:lnTo>
                  <a:lnTo>
                    <a:pt x="3686527" y="802216"/>
                  </a:lnTo>
                  <a:lnTo>
                    <a:pt x="3689205" y="817140"/>
                  </a:lnTo>
                  <a:lnTo>
                    <a:pt x="3683247" y="826641"/>
                  </a:lnTo>
                  <a:lnTo>
                    <a:pt x="3640222" y="818831"/>
                  </a:lnTo>
                  <a:lnTo>
                    <a:pt x="3575706" y="845705"/>
                  </a:lnTo>
                  <a:lnTo>
                    <a:pt x="3555181" y="849836"/>
                  </a:lnTo>
                  <a:lnTo>
                    <a:pt x="3519862" y="874577"/>
                  </a:lnTo>
                  <a:lnTo>
                    <a:pt x="3486358" y="895966"/>
                  </a:lnTo>
                  <a:lnTo>
                    <a:pt x="3477871" y="911668"/>
                  </a:lnTo>
                  <a:lnTo>
                    <a:pt x="3444854" y="887719"/>
                  </a:lnTo>
                  <a:lnTo>
                    <a:pt x="3384713" y="914876"/>
                  </a:lnTo>
                  <a:lnTo>
                    <a:pt x="3374210" y="902067"/>
                  </a:lnTo>
                  <a:lnTo>
                    <a:pt x="3351976" y="916833"/>
                  </a:lnTo>
                  <a:lnTo>
                    <a:pt x="3321104" y="912118"/>
                  </a:lnTo>
                  <a:lnTo>
                    <a:pt x="3313667" y="934646"/>
                  </a:lnTo>
                  <a:lnTo>
                    <a:pt x="3285973" y="967389"/>
                  </a:lnTo>
                  <a:lnTo>
                    <a:pt x="3286795" y="980926"/>
                  </a:lnTo>
                  <a:lnTo>
                    <a:pt x="3313085" y="988396"/>
                  </a:lnTo>
                  <a:lnTo>
                    <a:pt x="3309993" y="1036350"/>
                  </a:lnTo>
                  <a:lnTo>
                    <a:pt x="3288564" y="1037557"/>
                  </a:lnTo>
                  <a:lnTo>
                    <a:pt x="3278682" y="1064659"/>
                  </a:lnTo>
                  <a:lnTo>
                    <a:pt x="3288285" y="1078488"/>
                  </a:lnTo>
                  <a:lnTo>
                    <a:pt x="3247919" y="1094791"/>
                  </a:lnTo>
                  <a:lnTo>
                    <a:pt x="3239909" y="1130839"/>
                  </a:lnTo>
                  <a:lnTo>
                    <a:pt x="3205498" y="1138470"/>
                  </a:lnTo>
                  <a:lnTo>
                    <a:pt x="3198578" y="1170009"/>
                  </a:lnTo>
                  <a:lnTo>
                    <a:pt x="3165307" y="1198582"/>
                  </a:lnTo>
                  <a:lnTo>
                    <a:pt x="3156772" y="1177484"/>
                  </a:lnTo>
                  <a:lnTo>
                    <a:pt x="3146888" y="1132205"/>
                  </a:lnTo>
                  <a:lnTo>
                    <a:pt x="3134004" y="1061586"/>
                  </a:lnTo>
                  <a:lnTo>
                    <a:pt x="3145101" y="1016420"/>
                  </a:lnTo>
                  <a:lnTo>
                    <a:pt x="3164577" y="996713"/>
                  </a:lnTo>
                  <a:lnTo>
                    <a:pt x="3165782" y="981162"/>
                  </a:lnTo>
                  <a:lnTo>
                    <a:pt x="3201652" y="973680"/>
                  </a:lnTo>
                  <a:lnTo>
                    <a:pt x="3242885" y="931107"/>
                  </a:lnTo>
                  <a:lnTo>
                    <a:pt x="3282620" y="895730"/>
                  </a:lnTo>
                  <a:lnTo>
                    <a:pt x="3324114" y="867882"/>
                  </a:lnTo>
                  <a:lnTo>
                    <a:pt x="3342670" y="817799"/>
                  </a:lnTo>
                  <a:lnTo>
                    <a:pt x="3314621" y="820828"/>
                  </a:lnTo>
                  <a:lnTo>
                    <a:pt x="3300759" y="850194"/>
                  </a:lnTo>
                  <a:lnTo>
                    <a:pt x="3242211" y="888739"/>
                  </a:lnTo>
                  <a:lnTo>
                    <a:pt x="3223303" y="845534"/>
                  </a:lnTo>
                  <a:lnTo>
                    <a:pt x="3163712" y="857549"/>
                  </a:lnTo>
                  <a:lnTo>
                    <a:pt x="3105945" y="915920"/>
                  </a:lnTo>
                  <a:lnTo>
                    <a:pt x="3125005" y="936897"/>
                  </a:lnTo>
                  <a:lnTo>
                    <a:pt x="3073486" y="945769"/>
                  </a:lnTo>
                  <a:lnTo>
                    <a:pt x="3037797" y="949258"/>
                  </a:lnTo>
                  <a:lnTo>
                    <a:pt x="3039469" y="924640"/>
                  </a:lnTo>
                  <a:lnTo>
                    <a:pt x="3003589" y="919438"/>
                  </a:lnTo>
                  <a:lnTo>
                    <a:pt x="2974991" y="936232"/>
                  </a:lnTo>
                  <a:lnTo>
                    <a:pt x="2904413" y="930370"/>
                  </a:lnTo>
                  <a:lnTo>
                    <a:pt x="2828485" y="940468"/>
                  </a:lnTo>
                  <a:lnTo>
                    <a:pt x="2753713" y="1005870"/>
                  </a:lnTo>
                  <a:lnTo>
                    <a:pt x="2665253" y="1082505"/>
                  </a:lnTo>
                  <a:lnTo>
                    <a:pt x="2701620" y="1086531"/>
                  </a:lnTo>
                  <a:lnTo>
                    <a:pt x="2712971" y="1106437"/>
                  </a:lnTo>
                  <a:lnTo>
                    <a:pt x="2735390" y="1113464"/>
                  </a:lnTo>
                  <a:lnTo>
                    <a:pt x="2750161" y="1097645"/>
                  </a:lnTo>
                  <a:lnTo>
                    <a:pt x="2775481" y="1099705"/>
                  </a:lnTo>
                  <a:lnTo>
                    <a:pt x="2808808" y="1134378"/>
                  </a:lnTo>
                  <a:lnTo>
                    <a:pt x="2809590" y="1160859"/>
                  </a:lnTo>
                  <a:lnTo>
                    <a:pt x="2791544" y="1191601"/>
                  </a:lnTo>
                  <a:lnTo>
                    <a:pt x="2789597" y="1227858"/>
                  </a:lnTo>
                  <a:lnTo>
                    <a:pt x="2779184" y="1275618"/>
                  </a:lnTo>
                  <a:lnTo>
                    <a:pt x="2744393" y="1318111"/>
                  </a:lnTo>
                  <a:lnTo>
                    <a:pt x="2736660" y="1338188"/>
                  </a:lnTo>
                  <a:lnTo>
                    <a:pt x="2705328" y="1371661"/>
                  </a:lnTo>
                  <a:lnTo>
                    <a:pt x="2674237" y="1404458"/>
                  </a:lnTo>
                  <a:lnTo>
                    <a:pt x="2659326" y="1421097"/>
                  </a:lnTo>
                  <a:lnTo>
                    <a:pt x="2628567" y="1437527"/>
                  </a:lnTo>
                  <a:lnTo>
                    <a:pt x="2614012" y="1437890"/>
                  </a:lnTo>
                  <a:lnTo>
                    <a:pt x="2599512" y="1424286"/>
                  </a:lnTo>
                  <a:lnTo>
                    <a:pt x="2568530" y="1444743"/>
                  </a:lnTo>
                  <a:lnTo>
                    <a:pt x="2564932" y="1453998"/>
                  </a:lnTo>
                  <a:lnTo>
                    <a:pt x="2561700" y="1449134"/>
                  </a:lnTo>
                  <a:lnTo>
                    <a:pt x="2561559" y="1434970"/>
                  </a:lnTo>
                  <a:lnTo>
                    <a:pt x="2573350" y="1434216"/>
                  </a:lnTo>
                  <a:lnTo>
                    <a:pt x="2576671" y="1400995"/>
                  </a:lnTo>
                  <a:lnTo>
                    <a:pt x="2570592" y="1376672"/>
                  </a:lnTo>
                  <a:lnTo>
                    <a:pt x="2590402" y="1366580"/>
                  </a:lnTo>
                  <a:lnTo>
                    <a:pt x="2618418" y="1371644"/>
                  </a:lnTo>
                  <a:lnTo>
                    <a:pt x="2633941" y="1343707"/>
                  </a:lnTo>
                  <a:lnTo>
                    <a:pt x="2641851" y="1311903"/>
                  </a:lnTo>
                  <a:lnTo>
                    <a:pt x="2650818" y="1301195"/>
                  </a:lnTo>
                  <a:lnTo>
                    <a:pt x="2662948" y="1274684"/>
                  </a:lnTo>
                  <a:lnTo>
                    <a:pt x="2624799" y="1283399"/>
                  </a:lnTo>
                  <a:lnTo>
                    <a:pt x="2604788" y="1295016"/>
                  </a:lnTo>
                  <a:lnTo>
                    <a:pt x="2569716" y="1294982"/>
                  </a:lnTo>
                  <a:lnTo>
                    <a:pt x="2560368" y="1267228"/>
                  </a:lnTo>
                  <a:lnTo>
                    <a:pt x="2533027" y="1246032"/>
                  </a:lnTo>
                  <a:lnTo>
                    <a:pt x="2492854" y="1236444"/>
                  </a:lnTo>
                  <a:lnTo>
                    <a:pt x="2484314" y="1206841"/>
                  </a:lnTo>
                  <a:lnTo>
                    <a:pt x="2476275" y="1188105"/>
                  </a:lnTo>
                  <a:lnTo>
                    <a:pt x="2467624" y="1174891"/>
                  </a:lnTo>
                  <a:lnTo>
                    <a:pt x="2453359" y="1143647"/>
                  </a:lnTo>
                  <a:lnTo>
                    <a:pt x="2433089" y="1132140"/>
                  </a:lnTo>
                  <a:lnTo>
                    <a:pt x="2398540" y="1122796"/>
                  </a:lnTo>
                  <a:lnTo>
                    <a:pt x="2367938" y="1123647"/>
                  </a:lnTo>
                  <a:lnTo>
                    <a:pt x="2339255" y="1129308"/>
                  </a:lnTo>
                  <a:lnTo>
                    <a:pt x="2320189" y="1144860"/>
                  </a:lnTo>
                  <a:lnTo>
                    <a:pt x="2332854" y="1152255"/>
                  </a:lnTo>
                  <a:lnTo>
                    <a:pt x="2333140" y="1169348"/>
                  </a:lnTo>
                  <a:lnTo>
                    <a:pt x="2320303" y="1179219"/>
                  </a:lnTo>
                  <a:lnTo>
                    <a:pt x="2299467" y="1211605"/>
                  </a:lnTo>
                  <a:lnTo>
                    <a:pt x="2299677" y="1224921"/>
                  </a:lnTo>
                  <a:lnTo>
                    <a:pt x="2267148" y="1243924"/>
                  </a:lnTo>
                  <a:lnTo>
                    <a:pt x="2239438" y="1232587"/>
                  </a:lnTo>
                  <a:lnTo>
                    <a:pt x="2211898" y="1235094"/>
                  </a:lnTo>
                  <a:lnTo>
                    <a:pt x="2199813" y="1225001"/>
                  </a:lnTo>
                  <a:lnTo>
                    <a:pt x="2185971" y="1221738"/>
                  </a:lnTo>
                  <a:lnTo>
                    <a:pt x="2152162" y="1242947"/>
                  </a:lnTo>
                  <a:lnTo>
                    <a:pt x="2121773" y="1247906"/>
                  </a:lnTo>
                  <a:lnTo>
                    <a:pt x="2100555" y="1255310"/>
                  </a:lnTo>
                  <a:lnTo>
                    <a:pt x="2071481" y="1250448"/>
                  </a:lnTo>
                  <a:lnTo>
                    <a:pt x="2050076" y="1250759"/>
                  </a:lnTo>
                  <a:lnTo>
                    <a:pt x="2036066" y="1235439"/>
                  </a:lnTo>
                  <a:lnTo>
                    <a:pt x="2013459" y="1220952"/>
                  </a:lnTo>
                  <a:lnTo>
                    <a:pt x="1990326" y="1216967"/>
                  </a:lnTo>
                  <a:lnTo>
                    <a:pt x="1961125" y="1220921"/>
                  </a:lnTo>
                  <a:lnTo>
                    <a:pt x="1939312" y="1226518"/>
                  </a:lnTo>
                  <a:lnTo>
                    <a:pt x="1906519" y="1213800"/>
                  </a:lnTo>
                  <a:lnTo>
                    <a:pt x="1902118" y="1190981"/>
                  </a:lnTo>
                  <a:lnTo>
                    <a:pt x="1874978" y="1183110"/>
                  </a:lnTo>
                  <a:lnTo>
                    <a:pt x="1854025" y="1179512"/>
                  </a:lnTo>
                  <a:lnTo>
                    <a:pt x="1828167" y="1166778"/>
                  </a:lnTo>
                  <a:lnTo>
                    <a:pt x="1804260" y="1198584"/>
                  </a:lnTo>
                  <a:lnTo>
                    <a:pt x="1813631" y="1216471"/>
                  </a:lnTo>
                  <a:lnTo>
                    <a:pt x="1791195" y="1237472"/>
                  </a:lnTo>
                  <a:lnTo>
                    <a:pt x="1757824" y="1229910"/>
                  </a:lnTo>
                  <a:lnTo>
                    <a:pt x="1734785" y="1228826"/>
                  </a:lnTo>
                  <a:lnTo>
                    <a:pt x="1719357" y="1214710"/>
                  </a:lnTo>
                  <a:lnTo>
                    <a:pt x="1695274" y="1214263"/>
                  </a:lnTo>
                  <a:lnTo>
                    <a:pt x="1675203" y="1204944"/>
                  </a:lnTo>
                  <a:lnTo>
                    <a:pt x="1640094" y="1219213"/>
                  </a:lnTo>
                  <a:lnTo>
                    <a:pt x="1596050" y="1245136"/>
                  </a:lnTo>
                  <a:lnTo>
                    <a:pt x="1571714" y="1250321"/>
                  </a:lnTo>
                  <a:lnTo>
                    <a:pt x="1562681" y="1252777"/>
                  </a:lnTo>
                  <a:lnTo>
                    <a:pt x="1550433" y="1234448"/>
                  </a:lnTo>
                  <a:lnTo>
                    <a:pt x="1520701" y="1238469"/>
                  </a:lnTo>
                  <a:lnTo>
                    <a:pt x="1510874" y="1225694"/>
                  </a:lnTo>
                  <a:lnTo>
                    <a:pt x="1494735" y="1219830"/>
                  </a:lnTo>
                  <a:lnTo>
                    <a:pt x="1483626" y="1202294"/>
                  </a:lnTo>
                  <a:lnTo>
                    <a:pt x="1470882" y="1196809"/>
                  </a:lnTo>
                  <a:lnTo>
                    <a:pt x="1437712" y="1204640"/>
                  </a:lnTo>
                  <a:lnTo>
                    <a:pt x="1405914" y="1187050"/>
                  </a:lnTo>
                  <a:lnTo>
                    <a:pt x="1393614" y="1203040"/>
                  </a:lnTo>
                  <a:lnTo>
                    <a:pt x="1342033" y="1124505"/>
                  </a:lnTo>
                  <a:lnTo>
                    <a:pt x="1312585" y="1100108"/>
                  </a:lnTo>
                  <a:lnTo>
                    <a:pt x="1321032" y="1090136"/>
                  </a:lnTo>
                  <a:lnTo>
                    <a:pt x="1263180" y="1120026"/>
                  </a:lnTo>
                  <a:lnTo>
                    <a:pt x="1241041" y="1121820"/>
                  </a:lnTo>
                  <a:lnTo>
                    <a:pt x="1242953" y="1104591"/>
                  </a:lnTo>
                  <a:lnTo>
                    <a:pt x="1213306" y="1093763"/>
                  </a:lnTo>
                  <a:lnTo>
                    <a:pt x="1189208" y="1101495"/>
                  </a:lnTo>
                  <a:lnTo>
                    <a:pt x="1181939" y="1068391"/>
                  </a:lnTo>
                  <a:lnTo>
                    <a:pt x="1140458" y="1061449"/>
                  </a:lnTo>
                  <a:lnTo>
                    <a:pt x="1119705" y="1074794"/>
                  </a:lnTo>
                  <a:lnTo>
                    <a:pt x="1061947" y="1086605"/>
                  </a:lnTo>
                  <a:lnTo>
                    <a:pt x="1050675" y="1094476"/>
                  </a:lnTo>
                  <a:lnTo>
                    <a:pt x="964301" y="1105521"/>
                  </a:lnTo>
                  <a:lnTo>
                    <a:pt x="953716" y="1116304"/>
                  </a:lnTo>
                  <a:lnTo>
                    <a:pt x="970380" y="1137804"/>
                  </a:lnTo>
                  <a:lnTo>
                    <a:pt x="948221" y="1145916"/>
                  </a:lnTo>
                  <a:lnTo>
                    <a:pt x="952544" y="1154387"/>
                  </a:lnTo>
                  <a:lnTo>
                    <a:pt x="930390" y="1169462"/>
                  </a:lnTo>
                  <a:lnTo>
                    <a:pt x="967795" y="1190592"/>
                  </a:lnTo>
                  <a:lnTo>
                    <a:pt x="962011" y="1205039"/>
                  </a:lnTo>
                  <a:lnTo>
                    <a:pt x="929589" y="1203727"/>
                  </a:lnTo>
                  <a:lnTo>
                    <a:pt x="922883" y="1212742"/>
                  </a:lnTo>
                  <a:lnTo>
                    <a:pt x="893361" y="1196978"/>
                  </a:lnTo>
                  <a:lnTo>
                    <a:pt x="856767" y="1197591"/>
                  </a:lnTo>
                  <a:lnTo>
                    <a:pt x="832275" y="1210428"/>
                  </a:lnTo>
                  <a:lnTo>
                    <a:pt x="804944" y="1198119"/>
                  </a:lnTo>
                  <a:lnTo>
                    <a:pt x="754066" y="1176910"/>
                  </a:lnTo>
                  <a:lnTo>
                    <a:pt x="718010" y="1177706"/>
                  </a:lnTo>
                  <a:lnTo>
                    <a:pt x="670361" y="1210931"/>
                  </a:lnTo>
                  <a:lnTo>
                    <a:pt x="667486" y="1233002"/>
                  </a:lnTo>
                  <a:lnTo>
                    <a:pt x="643749" y="1215493"/>
                  </a:lnTo>
                  <a:lnTo>
                    <a:pt x="625332" y="1248563"/>
                  </a:lnTo>
                  <a:lnTo>
                    <a:pt x="632073" y="1254656"/>
                  </a:lnTo>
                  <a:lnTo>
                    <a:pt x="618749" y="1277173"/>
                  </a:lnTo>
                  <a:lnTo>
                    <a:pt x="638342" y="1297164"/>
                  </a:lnTo>
                  <a:lnTo>
                    <a:pt x="655470" y="1296344"/>
                  </a:lnTo>
                  <a:lnTo>
                    <a:pt x="670184" y="1315896"/>
                  </a:lnTo>
                  <a:lnTo>
                    <a:pt x="667842" y="1330859"/>
                  </a:lnTo>
                  <a:lnTo>
                    <a:pt x="679565" y="1335544"/>
                  </a:lnTo>
                  <a:lnTo>
                    <a:pt x="669046" y="1352658"/>
                  </a:lnTo>
                  <a:lnTo>
                    <a:pt x="646667" y="1357396"/>
                  </a:lnTo>
                  <a:lnTo>
                    <a:pt x="623725" y="1386886"/>
                  </a:lnTo>
                  <a:lnTo>
                    <a:pt x="644706" y="1413731"/>
                  </a:lnTo>
                  <a:lnTo>
                    <a:pt x="642434" y="1432633"/>
                  </a:lnTo>
                  <a:lnTo>
                    <a:pt x="667637" y="1465393"/>
                  </a:lnTo>
                  <a:lnTo>
                    <a:pt x="653854" y="1476522"/>
                  </a:lnTo>
                  <a:lnTo>
                    <a:pt x="649893" y="1483526"/>
                  </a:lnTo>
                  <a:lnTo>
                    <a:pt x="639682" y="1481647"/>
                  </a:lnTo>
                  <a:lnTo>
                    <a:pt x="623819" y="1464888"/>
                  </a:lnTo>
                  <a:lnTo>
                    <a:pt x="617330" y="1463960"/>
                  </a:lnTo>
                  <a:lnTo>
                    <a:pt x="602821" y="1457538"/>
                  </a:lnTo>
                  <a:lnTo>
                    <a:pt x="595755" y="1446135"/>
                  </a:lnTo>
                  <a:lnTo>
                    <a:pt x="574227" y="1440304"/>
                  </a:lnTo>
                  <a:lnTo>
                    <a:pt x="560229" y="1444682"/>
                  </a:lnTo>
                  <a:lnTo>
                    <a:pt x="556185" y="1439499"/>
                  </a:lnTo>
                  <a:lnTo>
                    <a:pt x="524756" y="1426089"/>
                  </a:lnTo>
                  <a:lnTo>
                    <a:pt x="490773" y="1421547"/>
                  </a:lnTo>
                  <a:lnTo>
                    <a:pt x="471263" y="1416743"/>
                  </a:lnTo>
                  <a:lnTo>
                    <a:pt x="468448" y="1420063"/>
                  </a:lnTo>
                  <a:lnTo>
                    <a:pt x="439017" y="1396227"/>
                  </a:lnTo>
                  <a:lnTo>
                    <a:pt x="412683" y="1385522"/>
                  </a:lnTo>
                  <a:lnTo>
                    <a:pt x="392747" y="1368768"/>
                  </a:lnTo>
                  <a:lnTo>
                    <a:pt x="409545" y="1364193"/>
                  </a:lnTo>
                  <a:lnTo>
                    <a:pt x="428698" y="1340128"/>
                  </a:lnTo>
                  <a:lnTo>
                    <a:pt x="415790" y="1328668"/>
                  </a:lnTo>
                  <a:lnTo>
                    <a:pt x="449812" y="1316796"/>
                  </a:lnTo>
                  <a:lnTo>
                    <a:pt x="449202" y="1310417"/>
                  </a:lnTo>
                  <a:lnTo>
                    <a:pt x="428481" y="1315122"/>
                  </a:lnTo>
                  <a:lnTo>
                    <a:pt x="429210" y="1302134"/>
                  </a:lnTo>
                  <a:lnTo>
                    <a:pt x="441108" y="1293939"/>
                  </a:lnTo>
                  <a:lnTo>
                    <a:pt x="463445" y="1291782"/>
                  </a:lnTo>
                  <a:lnTo>
                    <a:pt x="467077" y="1281953"/>
                  </a:lnTo>
                  <a:lnTo>
                    <a:pt x="461976" y="1265620"/>
                  </a:lnTo>
                  <a:lnTo>
                    <a:pt x="471351" y="1250015"/>
                  </a:lnTo>
                  <a:lnTo>
                    <a:pt x="471080" y="1241224"/>
                  </a:lnTo>
                  <a:lnTo>
                    <a:pt x="437055" y="1231445"/>
                  </a:lnTo>
                  <a:lnTo>
                    <a:pt x="423567" y="1231771"/>
                  </a:lnTo>
                  <a:lnTo>
                    <a:pt x="409321" y="1217635"/>
                  </a:lnTo>
                  <a:lnTo>
                    <a:pt x="391609" y="1222424"/>
                  </a:lnTo>
                  <a:lnTo>
                    <a:pt x="362293" y="1211779"/>
                  </a:lnTo>
                  <a:lnTo>
                    <a:pt x="362796" y="1205803"/>
                  </a:lnTo>
                  <a:lnTo>
                    <a:pt x="354585" y="1192582"/>
                  </a:lnTo>
                  <a:lnTo>
                    <a:pt x="336180" y="1191101"/>
                  </a:lnTo>
                  <a:lnTo>
                    <a:pt x="334267" y="1181589"/>
                  </a:lnTo>
                  <a:lnTo>
                    <a:pt x="340033" y="1175364"/>
                  </a:lnTo>
                  <a:lnTo>
                    <a:pt x="325282" y="1157876"/>
                  </a:lnTo>
                  <a:lnTo>
                    <a:pt x="301347" y="1160869"/>
                  </a:lnTo>
                  <a:lnTo>
                    <a:pt x="294337" y="1159313"/>
                  </a:lnTo>
                  <a:lnTo>
                    <a:pt x="288506" y="1166349"/>
                  </a:lnTo>
                  <a:lnTo>
                    <a:pt x="279885" y="1165100"/>
                  </a:lnTo>
                  <a:lnTo>
                    <a:pt x="274208" y="1145229"/>
                  </a:lnTo>
                  <a:lnTo>
                    <a:pt x="268787" y="1134865"/>
                  </a:lnTo>
                  <a:lnTo>
                    <a:pt x="273229" y="1131940"/>
                  </a:lnTo>
                  <a:lnTo>
                    <a:pt x="291854" y="1133027"/>
                  </a:lnTo>
                  <a:lnTo>
                    <a:pt x="300836" y="1126170"/>
                  </a:lnTo>
                  <a:lnTo>
                    <a:pt x="294187" y="1117783"/>
                  </a:lnTo>
                  <a:lnTo>
                    <a:pt x="278622" y="1112232"/>
                  </a:lnTo>
                  <a:lnTo>
                    <a:pt x="280011" y="1106522"/>
                  </a:lnTo>
                  <a:lnTo>
                    <a:pt x="270617" y="1100741"/>
                  </a:lnTo>
                  <a:lnTo>
                    <a:pt x="256146" y="1079876"/>
                  </a:lnTo>
                  <a:lnTo>
                    <a:pt x="261092" y="1071225"/>
                  </a:lnTo>
                  <a:lnTo>
                    <a:pt x="258832" y="1056097"/>
                  </a:lnTo>
                  <a:lnTo>
                    <a:pt x="236266" y="1048374"/>
                  </a:lnTo>
                  <a:lnTo>
                    <a:pt x="224154" y="1052243"/>
                  </a:lnTo>
                  <a:lnTo>
                    <a:pt x="220875" y="1044191"/>
                  </a:lnTo>
                  <a:lnTo>
                    <a:pt x="196573" y="1036027"/>
                  </a:lnTo>
                  <a:lnTo>
                    <a:pt x="189154" y="1016703"/>
                  </a:lnTo>
                  <a:lnTo>
                    <a:pt x="187186" y="1000704"/>
                  </a:lnTo>
                  <a:lnTo>
                    <a:pt x="176064" y="993068"/>
                  </a:lnTo>
                  <a:lnTo>
                    <a:pt x="185955" y="982502"/>
                  </a:lnTo>
                  <a:lnTo>
                    <a:pt x="179110" y="951164"/>
                  </a:lnTo>
                  <a:lnTo>
                    <a:pt x="195534" y="931583"/>
                  </a:lnTo>
                  <a:lnTo>
                    <a:pt x="192059" y="925618"/>
                  </a:lnTo>
                  <a:lnTo>
                    <a:pt x="218294" y="906626"/>
                  </a:lnTo>
                  <a:lnTo>
                    <a:pt x="194110" y="890155"/>
                  </a:lnTo>
                  <a:lnTo>
                    <a:pt x="243533" y="845319"/>
                  </a:lnTo>
                  <a:lnTo>
                    <a:pt x="264974" y="824722"/>
                  </a:lnTo>
                  <a:lnTo>
                    <a:pt x="273655" y="806373"/>
                  </a:lnTo>
                  <a:lnTo>
                    <a:pt x="239488" y="781474"/>
                  </a:lnTo>
                  <a:lnTo>
                    <a:pt x="248924" y="757519"/>
                  </a:lnTo>
                  <a:lnTo>
                    <a:pt x="228144" y="729825"/>
                  </a:lnTo>
                  <a:lnTo>
                    <a:pt x="243683" y="697463"/>
                  </a:lnTo>
                  <a:lnTo>
                    <a:pt x="216837" y="653700"/>
                  </a:lnTo>
                  <a:lnTo>
                    <a:pt x="238139" y="624190"/>
                  </a:lnTo>
                  <a:lnTo>
                    <a:pt x="202788" y="597752"/>
                  </a:lnTo>
                  <a:lnTo>
                    <a:pt x="206158" y="569594"/>
                  </a:lnTo>
                  <a:lnTo>
                    <a:pt x="224800" y="565859"/>
                  </a:lnTo>
                  <a:lnTo>
                    <a:pt x="264076" y="549515"/>
                  </a:lnTo>
                  <a:lnTo>
                    <a:pt x="287889" y="535236"/>
                  </a:lnTo>
                  <a:lnTo>
                    <a:pt x="325808" y="559988"/>
                  </a:lnTo>
                  <a:lnTo>
                    <a:pt x="389020" y="569649"/>
                  </a:lnTo>
                  <a:lnTo>
                    <a:pt x="476234" y="614940"/>
                  </a:lnTo>
                  <a:lnTo>
                    <a:pt x="493951" y="633675"/>
                  </a:lnTo>
                  <a:lnTo>
                    <a:pt x="495476" y="659625"/>
                  </a:lnTo>
                  <a:lnTo>
                    <a:pt x="469852" y="679882"/>
                  </a:lnTo>
                  <a:lnTo>
                    <a:pt x="432161" y="690087"/>
                  </a:lnTo>
                  <a:lnTo>
                    <a:pt x="329114" y="660863"/>
                  </a:lnTo>
                  <a:lnTo>
                    <a:pt x="312165" y="665778"/>
                  </a:lnTo>
                  <a:lnTo>
                    <a:pt x="349798" y="693878"/>
                  </a:lnTo>
                  <a:lnTo>
                    <a:pt x="351270" y="711483"/>
                  </a:lnTo>
                  <a:lnTo>
                    <a:pt x="352778" y="749745"/>
                  </a:lnTo>
                  <a:lnTo>
                    <a:pt x="382494" y="761029"/>
                  </a:lnTo>
                  <a:lnTo>
                    <a:pt x="400532" y="770589"/>
                  </a:lnTo>
                  <a:lnTo>
                    <a:pt x="403516" y="752698"/>
                  </a:lnTo>
                  <a:lnTo>
                    <a:pt x="389611" y="736714"/>
                  </a:lnTo>
                  <a:lnTo>
                    <a:pt x="404302" y="722525"/>
                  </a:lnTo>
                  <a:lnTo>
                    <a:pt x="460102" y="745792"/>
                  </a:lnTo>
                  <a:lnTo>
                    <a:pt x="479541" y="736714"/>
                  </a:lnTo>
                  <a:lnTo>
                    <a:pt x="464006" y="709192"/>
                  </a:lnTo>
                  <a:lnTo>
                    <a:pt x="517800" y="671807"/>
                  </a:lnTo>
                  <a:lnTo>
                    <a:pt x="539105" y="674026"/>
                  </a:lnTo>
                  <a:lnTo>
                    <a:pt x="560657" y="687430"/>
                  </a:lnTo>
                  <a:lnTo>
                    <a:pt x="574103" y="660990"/>
                  </a:lnTo>
                  <a:lnTo>
                    <a:pt x="554855" y="637778"/>
                  </a:lnTo>
                  <a:lnTo>
                    <a:pt x="566156" y="614223"/>
                  </a:lnTo>
                  <a:lnTo>
                    <a:pt x="549187" y="589501"/>
                  </a:lnTo>
                  <a:lnTo>
                    <a:pt x="613753" y="602324"/>
                  </a:lnTo>
                  <a:lnTo>
                    <a:pt x="626941" y="624518"/>
                  </a:lnTo>
                  <a:lnTo>
                    <a:pt x="597715" y="629378"/>
                  </a:lnTo>
                  <a:lnTo>
                    <a:pt x="597873" y="651143"/>
                  </a:lnTo>
                  <a:lnTo>
                    <a:pt x="616042" y="664420"/>
                  </a:lnTo>
                  <a:lnTo>
                    <a:pt x="651705" y="656020"/>
                  </a:lnTo>
                  <a:lnTo>
                    <a:pt x="657351" y="631113"/>
                  </a:lnTo>
                  <a:lnTo>
                    <a:pt x="705568" y="612314"/>
                  </a:lnTo>
                  <a:lnTo>
                    <a:pt x="786121" y="577976"/>
                  </a:lnTo>
                  <a:lnTo>
                    <a:pt x="803532" y="579960"/>
                  </a:lnTo>
                  <a:lnTo>
                    <a:pt x="780776" y="604264"/>
                  </a:lnTo>
                  <a:lnTo>
                    <a:pt x="809408" y="608411"/>
                  </a:lnTo>
                  <a:lnTo>
                    <a:pt x="825945" y="594793"/>
                  </a:lnTo>
                  <a:lnTo>
                    <a:pt x="869210" y="593688"/>
                  </a:lnTo>
                  <a:lnTo>
                    <a:pt x="903487" y="577030"/>
                  </a:lnTo>
                  <a:lnTo>
                    <a:pt x="929788" y="601191"/>
                  </a:lnTo>
                  <a:lnTo>
                    <a:pt x="956019" y="574613"/>
                  </a:lnTo>
                  <a:lnTo>
                    <a:pt x="931833" y="551074"/>
                  </a:lnTo>
                  <a:lnTo>
                    <a:pt x="943835" y="537540"/>
                  </a:lnTo>
                  <a:lnTo>
                    <a:pt x="1012022" y="549954"/>
                  </a:lnTo>
                  <a:lnTo>
                    <a:pt x="1043971" y="562696"/>
                  </a:lnTo>
                  <a:lnTo>
                    <a:pt x="1127623" y="608597"/>
                  </a:lnTo>
                  <a:lnTo>
                    <a:pt x="1143055" y="587702"/>
                  </a:lnTo>
                  <a:lnTo>
                    <a:pt x="1119597" y="566369"/>
                  </a:lnTo>
                  <a:lnTo>
                    <a:pt x="1118923" y="557746"/>
                  </a:lnTo>
                  <a:lnTo>
                    <a:pt x="1091105" y="553744"/>
                  </a:lnTo>
                  <a:lnTo>
                    <a:pt x="1098715" y="534297"/>
                  </a:lnTo>
                  <a:lnTo>
                    <a:pt x="1086369" y="501878"/>
                  </a:lnTo>
                  <a:lnTo>
                    <a:pt x="1085671" y="488423"/>
                  </a:lnTo>
                  <a:lnTo>
                    <a:pt x="1128267" y="449851"/>
                  </a:lnTo>
                  <a:lnTo>
                    <a:pt x="1143417" y="410359"/>
                  </a:lnTo>
                  <a:lnTo>
                    <a:pt x="1160582" y="401708"/>
                  </a:lnTo>
                  <a:lnTo>
                    <a:pt x="1221694" y="413300"/>
                  </a:lnTo>
                  <a:lnTo>
                    <a:pt x="1226506" y="437528"/>
                  </a:lnTo>
                  <a:lnTo>
                    <a:pt x="1204626" y="472328"/>
                  </a:lnTo>
                  <a:lnTo>
                    <a:pt x="1218984" y="485839"/>
                  </a:lnTo>
                  <a:lnTo>
                    <a:pt x="1226411" y="515146"/>
                  </a:lnTo>
                  <a:lnTo>
                    <a:pt x="1221167" y="571373"/>
                  </a:lnTo>
                  <a:lnTo>
                    <a:pt x="1246631" y="596023"/>
                  </a:lnTo>
                  <a:lnTo>
                    <a:pt x="1236724" y="622529"/>
                  </a:lnTo>
                  <a:lnTo>
                    <a:pt x="1191512" y="677816"/>
                  </a:lnTo>
                  <a:lnTo>
                    <a:pt x="1217896" y="683466"/>
                  </a:lnTo>
                  <a:lnTo>
                    <a:pt x="1227078" y="669632"/>
                  </a:lnTo>
                  <a:lnTo>
                    <a:pt x="1252474" y="659707"/>
                  </a:lnTo>
                  <a:lnTo>
                    <a:pt x="1258603" y="640446"/>
                  </a:lnTo>
                  <a:lnTo>
                    <a:pt x="1278580" y="621738"/>
                  </a:lnTo>
                  <a:lnTo>
                    <a:pt x="1265129" y="599174"/>
                  </a:lnTo>
                  <a:lnTo>
                    <a:pt x="1275899" y="572654"/>
                  </a:lnTo>
                  <a:lnTo>
                    <a:pt x="1250659" y="569324"/>
                  </a:lnTo>
                  <a:lnTo>
                    <a:pt x="1245108" y="546669"/>
                  </a:lnTo>
                  <a:lnTo>
                    <a:pt x="1263526" y="505107"/>
                  </a:lnTo>
                  <a:lnTo>
                    <a:pt x="1233548" y="470703"/>
                  </a:lnTo>
                  <a:lnTo>
                    <a:pt x="1274860" y="441804"/>
                  </a:lnTo>
                  <a:lnTo>
                    <a:pt x="1269515" y="410845"/>
                  </a:lnTo>
                  <a:lnTo>
                    <a:pt x="1281028" y="409849"/>
                  </a:lnTo>
                  <a:lnTo>
                    <a:pt x="1293157" y="434041"/>
                  </a:lnTo>
                  <a:lnTo>
                    <a:pt x="1284051" y="475448"/>
                  </a:lnTo>
                  <a:lnTo>
                    <a:pt x="1308752" y="483190"/>
                  </a:lnTo>
                  <a:lnTo>
                    <a:pt x="1298227" y="452452"/>
                  </a:lnTo>
                  <a:lnTo>
                    <a:pt x="1336856" y="435488"/>
                  </a:lnTo>
                  <a:lnTo>
                    <a:pt x="1384761" y="433193"/>
                  </a:lnTo>
                  <a:lnTo>
                    <a:pt x="1427418" y="457772"/>
                  </a:lnTo>
                  <a:lnTo>
                    <a:pt x="1406890" y="421761"/>
                  </a:lnTo>
                  <a:lnTo>
                    <a:pt x="1404591" y="374703"/>
                  </a:lnTo>
                  <a:lnTo>
                    <a:pt x="1444730" y="365660"/>
                  </a:lnTo>
                  <a:lnTo>
                    <a:pt x="1500249" y="367639"/>
                  </a:lnTo>
                  <a:lnTo>
                    <a:pt x="1550271" y="361752"/>
                  </a:lnTo>
                  <a:lnTo>
                    <a:pt x="1531510" y="338075"/>
                  </a:lnTo>
                  <a:lnTo>
                    <a:pt x="1558223" y="307909"/>
                  </a:lnTo>
                  <a:lnTo>
                    <a:pt x="1584742" y="306636"/>
                  </a:lnTo>
                  <a:lnTo>
                    <a:pt x="1629622" y="283515"/>
                  </a:lnTo>
                  <a:lnTo>
                    <a:pt x="1690573" y="277252"/>
                  </a:lnTo>
                  <a:lnTo>
                    <a:pt x="1698275" y="264323"/>
                  </a:lnTo>
                  <a:lnTo>
                    <a:pt x="1758885" y="259922"/>
                  </a:lnTo>
                  <a:lnTo>
                    <a:pt x="1777771" y="270552"/>
                  </a:lnTo>
                  <a:lnTo>
                    <a:pt x="1829577" y="245294"/>
                  </a:lnTo>
                  <a:lnTo>
                    <a:pt x="1871983" y="246089"/>
                  </a:lnTo>
                  <a:lnTo>
                    <a:pt x="1878345" y="225332"/>
                  </a:lnTo>
                  <a:lnTo>
                    <a:pt x="1900401" y="204634"/>
                  </a:lnTo>
                  <a:close/>
                  <a:moveTo>
                    <a:pt x="1902605" y="101148"/>
                  </a:moveTo>
                  <a:lnTo>
                    <a:pt x="1919952" y="104512"/>
                  </a:lnTo>
                  <a:lnTo>
                    <a:pt x="1978457" y="133586"/>
                  </a:lnTo>
                  <a:lnTo>
                    <a:pt x="1971603" y="154117"/>
                  </a:lnTo>
                  <a:lnTo>
                    <a:pt x="1841478" y="173402"/>
                  </a:lnTo>
                  <a:lnTo>
                    <a:pt x="1883645" y="106950"/>
                  </a:lnTo>
                  <a:close/>
                  <a:moveTo>
                    <a:pt x="701231" y="18017"/>
                  </a:moveTo>
                  <a:lnTo>
                    <a:pt x="735467" y="29832"/>
                  </a:lnTo>
                  <a:lnTo>
                    <a:pt x="726539" y="38005"/>
                  </a:lnTo>
                  <a:lnTo>
                    <a:pt x="695551" y="45045"/>
                  </a:lnTo>
                  <a:lnTo>
                    <a:pt x="674793" y="49083"/>
                  </a:lnTo>
                  <a:lnTo>
                    <a:pt x="671574" y="57788"/>
                  </a:lnTo>
                  <a:lnTo>
                    <a:pt x="644594" y="66515"/>
                  </a:lnTo>
                  <a:lnTo>
                    <a:pt x="619589" y="53986"/>
                  </a:lnTo>
                  <a:lnTo>
                    <a:pt x="632738" y="37355"/>
                  </a:lnTo>
                  <a:lnTo>
                    <a:pt x="581367" y="35728"/>
                  </a:lnTo>
                  <a:lnTo>
                    <a:pt x="626429" y="25948"/>
                  </a:lnTo>
                  <a:lnTo>
                    <a:pt x="661499" y="25297"/>
                  </a:lnTo>
                  <a:lnTo>
                    <a:pt x="666216" y="39754"/>
                  </a:lnTo>
                  <a:lnTo>
                    <a:pt x="679474" y="26914"/>
                  </a:lnTo>
                  <a:close/>
                  <a:moveTo>
                    <a:pt x="1760752" y="0"/>
                  </a:moveTo>
                  <a:lnTo>
                    <a:pt x="1805601" y="27291"/>
                  </a:lnTo>
                  <a:lnTo>
                    <a:pt x="1858755" y="78592"/>
                  </a:lnTo>
                  <a:lnTo>
                    <a:pt x="1853057" y="125054"/>
                  </a:lnTo>
                  <a:lnTo>
                    <a:pt x="1802695" y="131408"/>
                  </a:lnTo>
                  <a:lnTo>
                    <a:pt x="1738401" y="116676"/>
                  </a:lnTo>
                  <a:lnTo>
                    <a:pt x="1700091" y="97004"/>
                  </a:lnTo>
                  <a:lnTo>
                    <a:pt x="1682375" y="59464"/>
                  </a:lnTo>
                  <a:lnTo>
                    <a:pt x="1650882" y="48982"/>
                  </a:lnTo>
                  <a:lnTo>
                    <a:pt x="1710819" y="1229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39" name="Freeform 137">
              <a:extLst>
                <a:ext uri="{FF2B5EF4-FFF2-40B4-BE49-F238E27FC236}">
                  <a16:creationId xmlns:a16="http://schemas.microsoft.com/office/drawing/2014/main" id="{6169D9F3-9DA2-7448-A0B4-D4B3D897ABD6}"/>
                </a:ext>
              </a:extLst>
            </p:cNvPr>
            <p:cNvSpPr>
              <a:spLocks noChangeAspect="1"/>
            </p:cNvSpPr>
            <p:nvPr>
              <p:custDataLst>
                <p:tags r:id="rId143"/>
              </p:custDataLst>
            </p:nvPr>
          </p:nvSpPr>
          <p:spPr>
            <a:xfrm>
              <a:off x="5030660" y="4554163"/>
              <a:ext cx="41347" cy="41179"/>
            </a:xfrm>
            <a:custGeom>
              <a:avLst/>
              <a:gdLst/>
              <a:ahLst/>
              <a:cxnLst/>
              <a:rect l="0" t="0" r="0" b="0"/>
              <a:pathLst>
                <a:path w="41347" h="41179">
                  <a:moveTo>
                    <a:pt x="32181" y="0"/>
                  </a:moveTo>
                  <a:lnTo>
                    <a:pt x="41346" y="13027"/>
                  </a:lnTo>
                  <a:lnTo>
                    <a:pt x="40011" y="26612"/>
                  </a:lnTo>
                  <a:lnTo>
                    <a:pt x="33349" y="29536"/>
                  </a:lnTo>
                  <a:lnTo>
                    <a:pt x="21084" y="28027"/>
                  </a:lnTo>
                  <a:lnTo>
                    <a:pt x="14016" y="41178"/>
                  </a:lnTo>
                  <a:lnTo>
                    <a:pt x="0" y="39362"/>
                  </a:lnTo>
                  <a:lnTo>
                    <a:pt x="2136" y="26727"/>
                  </a:lnTo>
                  <a:lnTo>
                    <a:pt x="5306" y="24946"/>
                  </a:lnTo>
                  <a:lnTo>
                    <a:pt x="6162" y="11206"/>
                  </a:lnTo>
                  <a:lnTo>
                    <a:pt x="12800" y="4770"/>
                  </a:lnTo>
                  <a:lnTo>
                    <a:pt x="18387" y="712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40" name="Freeform 138">
              <a:extLst>
                <a:ext uri="{FF2B5EF4-FFF2-40B4-BE49-F238E27FC236}">
                  <a16:creationId xmlns:a16="http://schemas.microsoft.com/office/drawing/2014/main" id="{26CF7943-F829-3D4D-81BD-D9F1C9DB85CB}"/>
                </a:ext>
              </a:extLst>
            </p:cNvPr>
            <p:cNvSpPr>
              <a:spLocks noChangeAspect="1"/>
            </p:cNvSpPr>
            <p:nvPr>
              <p:custDataLst>
                <p:tags r:id="rId144"/>
              </p:custDataLst>
            </p:nvPr>
          </p:nvSpPr>
          <p:spPr>
            <a:xfrm>
              <a:off x="3966817" y="3873102"/>
              <a:ext cx="193856" cy="163040"/>
            </a:xfrm>
            <a:custGeom>
              <a:avLst/>
              <a:gdLst/>
              <a:ahLst/>
              <a:cxnLst/>
              <a:rect l="0" t="0" r="0" b="0"/>
              <a:pathLst>
                <a:path w="193856" h="163040">
                  <a:moveTo>
                    <a:pt x="190860" y="13329"/>
                  </a:moveTo>
                  <a:lnTo>
                    <a:pt x="190330" y="0"/>
                  </a:lnTo>
                  <a:lnTo>
                    <a:pt x="193845" y="0"/>
                  </a:lnTo>
                  <a:lnTo>
                    <a:pt x="193855" y="1668"/>
                  </a:lnTo>
                  <a:lnTo>
                    <a:pt x="193410" y="6491"/>
                  </a:lnTo>
                  <a:lnTo>
                    <a:pt x="193343" y="44021"/>
                  </a:lnTo>
                  <a:lnTo>
                    <a:pt x="117583" y="42730"/>
                  </a:lnTo>
                  <a:lnTo>
                    <a:pt x="118326" y="105478"/>
                  </a:lnTo>
                  <a:lnTo>
                    <a:pt x="96698" y="107665"/>
                  </a:lnTo>
                  <a:lnTo>
                    <a:pt x="91054" y="120162"/>
                  </a:lnTo>
                  <a:lnTo>
                    <a:pt x="95431" y="155142"/>
                  </a:lnTo>
                  <a:lnTo>
                    <a:pt x="5037" y="154991"/>
                  </a:lnTo>
                  <a:lnTo>
                    <a:pt x="0" y="163039"/>
                  </a:lnTo>
                  <a:lnTo>
                    <a:pt x="992" y="152841"/>
                  </a:lnTo>
                  <a:lnTo>
                    <a:pt x="1395" y="152880"/>
                  </a:lnTo>
                  <a:lnTo>
                    <a:pt x="53378" y="150950"/>
                  </a:lnTo>
                  <a:lnTo>
                    <a:pt x="56151" y="142236"/>
                  </a:lnTo>
                  <a:lnTo>
                    <a:pt x="65607" y="131354"/>
                  </a:lnTo>
                  <a:lnTo>
                    <a:pt x="73226" y="97762"/>
                  </a:lnTo>
                  <a:lnTo>
                    <a:pt x="105314" y="71356"/>
                  </a:lnTo>
                  <a:lnTo>
                    <a:pt x="116168" y="40323"/>
                  </a:lnTo>
                  <a:lnTo>
                    <a:pt x="123381" y="38514"/>
                  </a:lnTo>
                  <a:lnTo>
                    <a:pt x="130899" y="19220"/>
                  </a:lnTo>
                  <a:lnTo>
                    <a:pt x="150318" y="16555"/>
                  </a:lnTo>
                  <a:lnTo>
                    <a:pt x="158670" y="19777"/>
                  </a:lnTo>
                  <a:lnTo>
                    <a:pt x="169152" y="19777"/>
                  </a:lnTo>
                  <a:lnTo>
                    <a:pt x="176591" y="1413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41" name="Freeform 139">
              <a:extLst>
                <a:ext uri="{FF2B5EF4-FFF2-40B4-BE49-F238E27FC236}">
                  <a16:creationId xmlns:a16="http://schemas.microsoft.com/office/drawing/2014/main" id="{CB407A6C-2BA1-9D4C-A270-E8BFC000218C}"/>
                </a:ext>
              </a:extLst>
            </p:cNvPr>
            <p:cNvSpPr>
              <a:spLocks noChangeAspect="1"/>
            </p:cNvSpPr>
            <p:nvPr>
              <p:custDataLst>
                <p:tags r:id="rId145"/>
              </p:custDataLst>
            </p:nvPr>
          </p:nvSpPr>
          <p:spPr>
            <a:xfrm>
              <a:off x="5160094" y="3759323"/>
              <a:ext cx="485529" cy="387975"/>
            </a:xfrm>
            <a:custGeom>
              <a:avLst/>
              <a:gdLst/>
              <a:ahLst/>
              <a:cxnLst/>
              <a:rect l="0" t="0" r="0" b="0"/>
              <a:pathLst>
                <a:path w="485529" h="387975">
                  <a:moveTo>
                    <a:pt x="188054" y="387974"/>
                  </a:moveTo>
                  <a:lnTo>
                    <a:pt x="185059" y="377855"/>
                  </a:lnTo>
                  <a:lnTo>
                    <a:pt x="178097" y="370704"/>
                  </a:lnTo>
                  <a:lnTo>
                    <a:pt x="176318" y="361222"/>
                  </a:lnTo>
                  <a:lnTo>
                    <a:pt x="164395" y="352693"/>
                  </a:lnTo>
                  <a:lnTo>
                    <a:pt x="152093" y="332690"/>
                  </a:lnTo>
                  <a:lnTo>
                    <a:pt x="145582" y="313193"/>
                  </a:lnTo>
                  <a:lnTo>
                    <a:pt x="129616" y="296679"/>
                  </a:lnTo>
                  <a:lnTo>
                    <a:pt x="119322" y="292732"/>
                  </a:lnTo>
                  <a:lnTo>
                    <a:pt x="104035" y="269770"/>
                  </a:lnTo>
                  <a:lnTo>
                    <a:pt x="101364" y="252967"/>
                  </a:lnTo>
                  <a:lnTo>
                    <a:pt x="102348" y="238593"/>
                  </a:lnTo>
                  <a:lnTo>
                    <a:pt x="89108" y="211604"/>
                  </a:lnTo>
                  <a:lnTo>
                    <a:pt x="78285" y="202070"/>
                  </a:lnTo>
                  <a:lnTo>
                    <a:pt x="65815" y="197011"/>
                  </a:lnTo>
                  <a:lnTo>
                    <a:pt x="58225" y="182967"/>
                  </a:lnTo>
                  <a:lnTo>
                    <a:pt x="59487" y="177415"/>
                  </a:lnTo>
                  <a:lnTo>
                    <a:pt x="53073" y="164658"/>
                  </a:lnTo>
                  <a:lnTo>
                    <a:pt x="46332" y="159153"/>
                  </a:lnTo>
                  <a:lnTo>
                    <a:pt x="37320" y="140765"/>
                  </a:lnTo>
                  <a:lnTo>
                    <a:pt x="23263" y="120748"/>
                  </a:lnTo>
                  <a:lnTo>
                    <a:pt x="11491" y="103628"/>
                  </a:lnTo>
                  <a:lnTo>
                    <a:pt x="0" y="103748"/>
                  </a:lnTo>
                  <a:lnTo>
                    <a:pt x="3587" y="90018"/>
                  </a:lnTo>
                  <a:lnTo>
                    <a:pt x="4613" y="81238"/>
                  </a:lnTo>
                  <a:lnTo>
                    <a:pt x="7471" y="71206"/>
                  </a:lnTo>
                  <a:lnTo>
                    <a:pt x="33160" y="75208"/>
                  </a:lnTo>
                  <a:lnTo>
                    <a:pt x="43138" y="67462"/>
                  </a:lnTo>
                  <a:lnTo>
                    <a:pt x="48662" y="58383"/>
                  </a:lnTo>
                  <a:lnTo>
                    <a:pt x="66275" y="54885"/>
                  </a:lnTo>
                  <a:lnTo>
                    <a:pt x="70074" y="46414"/>
                  </a:lnTo>
                  <a:lnTo>
                    <a:pt x="77708" y="42112"/>
                  </a:lnTo>
                  <a:lnTo>
                    <a:pt x="54702" y="16685"/>
                  </a:lnTo>
                  <a:lnTo>
                    <a:pt x="100930" y="3862"/>
                  </a:lnTo>
                  <a:lnTo>
                    <a:pt x="105329" y="0"/>
                  </a:lnTo>
                  <a:lnTo>
                    <a:pt x="133133" y="6938"/>
                  </a:lnTo>
                  <a:lnTo>
                    <a:pt x="167525" y="24800"/>
                  </a:lnTo>
                  <a:lnTo>
                    <a:pt x="232607" y="75675"/>
                  </a:lnTo>
                  <a:lnTo>
                    <a:pt x="275523" y="77683"/>
                  </a:lnTo>
                  <a:lnTo>
                    <a:pt x="296092" y="80107"/>
                  </a:lnTo>
                  <a:lnTo>
                    <a:pt x="301840" y="92056"/>
                  </a:lnTo>
                  <a:lnTo>
                    <a:pt x="318165" y="91406"/>
                  </a:lnTo>
                  <a:lnTo>
                    <a:pt x="327202" y="112952"/>
                  </a:lnTo>
                  <a:lnTo>
                    <a:pt x="338558" y="118641"/>
                  </a:lnTo>
                  <a:lnTo>
                    <a:pt x="342514" y="127374"/>
                  </a:lnTo>
                  <a:lnTo>
                    <a:pt x="358245" y="137803"/>
                  </a:lnTo>
                  <a:lnTo>
                    <a:pt x="359642" y="148019"/>
                  </a:lnTo>
                  <a:lnTo>
                    <a:pt x="357342" y="156247"/>
                  </a:lnTo>
                  <a:lnTo>
                    <a:pt x="360263" y="164532"/>
                  </a:lnTo>
                  <a:lnTo>
                    <a:pt x="366900" y="171432"/>
                  </a:lnTo>
                  <a:lnTo>
                    <a:pt x="369974" y="179494"/>
                  </a:lnTo>
                  <a:lnTo>
                    <a:pt x="373426" y="185513"/>
                  </a:lnTo>
                  <a:lnTo>
                    <a:pt x="380404" y="190378"/>
                  </a:lnTo>
                  <a:lnTo>
                    <a:pt x="386802" y="188636"/>
                  </a:lnTo>
                  <a:lnTo>
                    <a:pt x="391186" y="197990"/>
                  </a:lnTo>
                  <a:lnTo>
                    <a:pt x="392067" y="203647"/>
                  </a:lnTo>
                  <a:lnTo>
                    <a:pt x="400908" y="228350"/>
                  </a:lnTo>
                  <a:lnTo>
                    <a:pt x="470297" y="240601"/>
                  </a:lnTo>
                  <a:lnTo>
                    <a:pt x="474949" y="235468"/>
                  </a:lnTo>
                  <a:lnTo>
                    <a:pt x="485528" y="252649"/>
                  </a:lnTo>
                  <a:lnTo>
                    <a:pt x="470139" y="300875"/>
                  </a:lnTo>
                  <a:lnTo>
                    <a:pt x="400892" y="324840"/>
                  </a:lnTo>
                  <a:lnTo>
                    <a:pt x="334337" y="334002"/>
                  </a:lnTo>
                  <a:lnTo>
                    <a:pt x="312793" y="344742"/>
                  </a:lnTo>
                  <a:lnTo>
                    <a:pt x="296251" y="369733"/>
                  </a:lnTo>
                  <a:lnTo>
                    <a:pt x="285478" y="373692"/>
                  </a:lnTo>
                  <a:lnTo>
                    <a:pt x="279707" y="365772"/>
                  </a:lnTo>
                  <a:lnTo>
                    <a:pt x="270859" y="366962"/>
                  </a:lnTo>
                  <a:lnTo>
                    <a:pt x="248546" y="364584"/>
                  </a:lnTo>
                  <a:lnTo>
                    <a:pt x="244314" y="362206"/>
                  </a:lnTo>
                  <a:lnTo>
                    <a:pt x="217675" y="362752"/>
                  </a:lnTo>
                  <a:lnTo>
                    <a:pt x="211418" y="364901"/>
                  </a:lnTo>
                  <a:lnTo>
                    <a:pt x="201937" y="358717"/>
                  </a:lnTo>
                  <a:lnTo>
                    <a:pt x="195821" y="370404"/>
                  </a:lnTo>
                  <a:lnTo>
                    <a:pt x="198188" y="38041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42" name="Freeform 140">
              <a:extLst>
                <a:ext uri="{FF2B5EF4-FFF2-40B4-BE49-F238E27FC236}">
                  <a16:creationId xmlns:a16="http://schemas.microsoft.com/office/drawing/2014/main" id="{E082D9CF-E545-884C-95C4-4C0FE774307E}"/>
                </a:ext>
              </a:extLst>
            </p:cNvPr>
            <p:cNvSpPr>
              <a:spLocks noChangeAspect="1"/>
            </p:cNvSpPr>
            <p:nvPr>
              <p:custDataLst>
                <p:tags r:id="rId146"/>
              </p:custDataLst>
            </p:nvPr>
          </p:nvSpPr>
          <p:spPr>
            <a:xfrm>
              <a:off x="4867047" y="4011972"/>
              <a:ext cx="380248" cy="316551"/>
            </a:xfrm>
            <a:custGeom>
              <a:avLst/>
              <a:gdLst/>
              <a:ahLst/>
              <a:cxnLst/>
              <a:rect l="0" t="0" r="0" b="0"/>
              <a:pathLst>
                <a:path w="380248" h="316551">
                  <a:moveTo>
                    <a:pt x="277606" y="296899"/>
                  </a:moveTo>
                  <a:lnTo>
                    <a:pt x="274410" y="296438"/>
                  </a:lnTo>
                  <a:lnTo>
                    <a:pt x="274807" y="284840"/>
                  </a:lnTo>
                  <a:lnTo>
                    <a:pt x="272032" y="276834"/>
                  </a:lnTo>
                  <a:lnTo>
                    <a:pt x="260144" y="267621"/>
                  </a:lnTo>
                  <a:lnTo>
                    <a:pt x="257370" y="250776"/>
                  </a:lnTo>
                  <a:lnTo>
                    <a:pt x="260144" y="233502"/>
                  </a:lnTo>
                  <a:lnTo>
                    <a:pt x="249445" y="231894"/>
                  </a:lnTo>
                  <a:lnTo>
                    <a:pt x="247860" y="237120"/>
                  </a:lnTo>
                  <a:lnTo>
                    <a:pt x="233991" y="238326"/>
                  </a:lnTo>
                  <a:lnTo>
                    <a:pt x="239539" y="245155"/>
                  </a:lnTo>
                  <a:lnTo>
                    <a:pt x="241520" y="259201"/>
                  </a:lnTo>
                  <a:lnTo>
                    <a:pt x="228839" y="272028"/>
                  </a:lnTo>
                  <a:lnTo>
                    <a:pt x="217347" y="288841"/>
                  </a:lnTo>
                  <a:lnTo>
                    <a:pt x="205459" y="291241"/>
                  </a:lnTo>
                  <a:lnTo>
                    <a:pt x="186042" y="277635"/>
                  </a:lnTo>
                  <a:lnTo>
                    <a:pt x="177324" y="282439"/>
                  </a:lnTo>
                  <a:lnTo>
                    <a:pt x="174947" y="289241"/>
                  </a:lnTo>
                  <a:lnTo>
                    <a:pt x="163059" y="293640"/>
                  </a:lnTo>
                  <a:lnTo>
                    <a:pt x="162266" y="298437"/>
                  </a:lnTo>
                  <a:lnTo>
                    <a:pt x="139282" y="298437"/>
                  </a:lnTo>
                  <a:lnTo>
                    <a:pt x="136112" y="293640"/>
                  </a:lnTo>
                  <a:lnTo>
                    <a:pt x="119469" y="292840"/>
                  </a:lnTo>
                  <a:lnTo>
                    <a:pt x="111147" y="296838"/>
                  </a:lnTo>
                  <a:lnTo>
                    <a:pt x="104807" y="294839"/>
                  </a:lnTo>
                  <a:lnTo>
                    <a:pt x="92919" y="281238"/>
                  </a:lnTo>
                  <a:lnTo>
                    <a:pt x="88956" y="274832"/>
                  </a:lnTo>
                  <a:lnTo>
                    <a:pt x="72313" y="278035"/>
                  </a:lnTo>
                  <a:lnTo>
                    <a:pt x="65973" y="288841"/>
                  </a:lnTo>
                  <a:lnTo>
                    <a:pt x="60029" y="309624"/>
                  </a:lnTo>
                  <a:lnTo>
                    <a:pt x="52103" y="314016"/>
                  </a:lnTo>
                  <a:lnTo>
                    <a:pt x="45015" y="316550"/>
                  </a:lnTo>
                  <a:lnTo>
                    <a:pt x="43141" y="315467"/>
                  </a:lnTo>
                  <a:lnTo>
                    <a:pt x="35136" y="308769"/>
                  </a:lnTo>
                  <a:lnTo>
                    <a:pt x="33653" y="301537"/>
                  </a:lnTo>
                  <a:lnTo>
                    <a:pt x="37404" y="291846"/>
                  </a:lnTo>
                  <a:lnTo>
                    <a:pt x="37336" y="282338"/>
                  </a:lnTo>
                  <a:lnTo>
                    <a:pt x="24023" y="267752"/>
                  </a:lnTo>
                  <a:lnTo>
                    <a:pt x="21406" y="257758"/>
                  </a:lnTo>
                  <a:lnTo>
                    <a:pt x="21684" y="252098"/>
                  </a:lnTo>
                  <a:lnTo>
                    <a:pt x="13200" y="245205"/>
                  </a:lnTo>
                  <a:lnTo>
                    <a:pt x="12945" y="231607"/>
                  </a:lnTo>
                  <a:lnTo>
                    <a:pt x="8106" y="222565"/>
                  </a:lnTo>
                  <a:lnTo>
                    <a:pt x="0" y="223922"/>
                  </a:lnTo>
                  <a:lnTo>
                    <a:pt x="2326" y="215308"/>
                  </a:lnTo>
                  <a:lnTo>
                    <a:pt x="8304" y="205521"/>
                  </a:lnTo>
                  <a:lnTo>
                    <a:pt x="5689" y="195786"/>
                  </a:lnTo>
                  <a:lnTo>
                    <a:pt x="13277" y="188570"/>
                  </a:lnTo>
                  <a:lnTo>
                    <a:pt x="8464" y="183069"/>
                  </a:lnTo>
                  <a:lnTo>
                    <a:pt x="14568" y="168514"/>
                  </a:lnTo>
                  <a:lnTo>
                    <a:pt x="25109" y="151118"/>
                  </a:lnTo>
                  <a:lnTo>
                    <a:pt x="45013" y="152771"/>
                  </a:lnTo>
                  <a:lnTo>
                    <a:pt x="43876" y="58291"/>
                  </a:lnTo>
                  <a:lnTo>
                    <a:pt x="44161" y="48225"/>
                  </a:lnTo>
                  <a:lnTo>
                    <a:pt x="70706" y="48152"/>
                  </a:lnTo>
                  <a:lnTo>
                    <a:pt x="70706" y="0"/>
                  </a:lnTo>
                  <a:lnTo>
                    <a:pt x="163499" y="0"/>
                  </a:lnTo>
                  <a:lnTo>
                    <a:pt x="253059" y="0"/>
                  </a:lnTo>
                  <a:lnTo>
                    <a:pt x="344611" y="0"/>
                  </a:lnTo>
                  <a:lnTo>
                    <a:pt x="352055" y="23709"/>
                  </a:lnTo>
                  <a:lnTo>
                    <a:pt x="346992" y="28082"/>
                  </a:lnTo>
                  <a:lnTo>
                    <a:pt x="350346" y="52835"/>
                  </a:lnTo>
                  <a:lnTo>
                    <a:pt x="358819" y="81415"/>
                  </a:lnTo>
                  <a:lnTo>
                    <a:pt x="367613" y="87294"/>
                  </a:lnTo>
                  <a:lnTo>
                    <a:pt x="380247" y="96106"/>
                  </a:lnTo>
                  <a:lnTo>
                    <a:pt x="368565" y="109695"/>
                  </a:lnTo>
                  <a:lnTo>
                    <a:pt x="351564" y="113604"/>
                  </a:lnTo>
                  <a:lnTo>
                    <a:pt x="344295" y="120887"/>
                  </a:lnTo>
                  <a:lnTo>
                    <a:pt x="342018" y="136653"/>
                  </a:lnTo>
                  <a:lnTo>
                    <a:pt x="332077" y="171387"/>
                  </a:lnTo>
                  <a:lnTo>
                    <a:pt x="334530" y="180825"/>
                  </a:lnTo>
                  <a:lnTo>
                    <a:pt x="330853" y="201032"/>
                  </a:lnTo>
                  <a:lnTo>
                    <a:pt x="321468" y="224154"/>
                  </a:lnTo>
                  <a:lnTo>
                    <a:pt x="307546" y="235761"/>
                  </a:lnTo>
                  <a:lnTo>
                    <a:pt x="297647" y="253632"/>
                  </a:lnTo>
                  <a:lnTo>
                    <a:pt x="295327" y="263183"/>
                  </a:lnTo>
                  <a:lnTo>
                    <a:pt x="284393" y="269722"/>
                  </a:lnTo>
                  <a:lnTo>
                    <a:pt x="277565" y="29412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43" name="Freeform 141">
              <a:extLst>
                <a:ext uri="{FF2B5EF4-FFF2-40B4-BE49-F238E27FC236}">
                  <a16:creationId xmlns:a16="http://schemas.microsoft.com/office/drawing/2014/main" id="{541F8597-F634-2649-AF2E-EC9A298AF096}"/>
                </a:ext>
              </a:extLst>
            </p:cNvPr>
            <p:cNvSpPr>
              <a:spLocks noChangeAspect="1"/>
            </p:cNvSpPr>
            <p:nvPr>
              <p:custDataLst>
                <p:tags r:id="rId147"/>
              </p:custDataLst>
            </p:nvPr>
          </p:nvSpPr>
          <p:spPr>
            <a:xfrm>
              <a:off x="4912062" y="4243866"/>
              <a:ext cx="263398" cy="203072"/>
            </a:xfrm>
            <a:custGeom>
              <a:avLst/>
              <a:gdLst/>
              <a:ahLst/>
              <a:cxnLst/>
              <a:rect l="0" t="0" r="0" b="0"/>
              <a:pathLst>
                <a:path w="263398" h="203072">
                  <a:moveTo>
                    <a:pt x="232591" y="65005"/>
                  </a:moveTo>
                  <a:lnTo>
                    <a:pt x="232858" y="83149"/>
                  </a:lnTo>
                  <a:lnTo>
                    <a:pt x="229408" y="90249"/>
                  </a:lnTo>
                  <a:lnTo>
                    <a:pt x="217157" y="90820"/>
                  </a:lnTo>
                  <a:lnTo>
                    <a:pt x="209295" y="104052"/>
                  </a:lnTo>
                  <a:lnTo>
                    <a:pt x="223470" y="105715"/>
                  </a:lnTo>
                  <a:lnTo>
                    <a:pt x="235169" y="117027"/>
                  </a:lnTo>
                  <a:lnTo>
                    <a:pt x="239213" y="126301"/>
                  </a:lnTo>
                  <a:lnTo>
                    <a:pt x="249755" y="131677"/>
                  </a:lnTo>
                  <a:lnTo>
                    <a:pt x="263397" y="156886"/>
                  </a:lnTo>
                  <a:lnTo>
                    <a:pt x="247751" y="172135"/>
                  </a:lnTo>
                  <a:lnTo>
                    <a:pt x="233551" y="185948"/>
                  </a:lnTo>
                  <a:lnTo>
                    <a:pt x="219355" y="196580"/>
                  </a:lnTo>
                  <a:lnTo>
                    <a:pt x="203115" y="196527"/>
                  </a:lnTo>
                  <a:lnTo>
                    <a:pt x="184533" y="201936"/>
                  </a:lnTo>
                  <a:lnTo>
                    <a:pt x="169856" y="196768"/>
                  </a:lnTo>
                  <a:lnTo>
                    <a:pt x="160352" y="203071"/>
                  </a:lnTo>
                  <a:lnTo>
                    <a:pt x="140031" y="187710"/>
                  </a:lnTo>
                  <a:lnTo>
                    <a:pt x="134549" y="177833"/>
                  </a:lnTo>
                  <a:lnTo>
                    <a:pt x="121694" y="182725"/>
                  </a:lnTo>
                  <a:lnTo>
                    <a:pt x="111021" y="181203"/>
                  </a:lnTo>
                  <a:lnTo>
                    <a:pt x="104842" y="185087"/>
                  </a:lnTo>
                  <a:lnTo>
                    <a:pt x="94477" y="182282"/>
                  </a:lnTo>
                  <a:lnTo>
                    <a:pt x="80495" y="163184"/>
                  </a:lnTo>
                  <a:lnTo>
                    <a:pt x="76783" y="155845"/>
                  </a:lnTo>
                  <a:lnTo>
                    <a:pt x="59528" y="146680"/>
                  </a:lnTo>
                  <a:lnTo>
                    <a:pt x="53700" y="132780"/>
                  </a:lnTo>
                  <a:lnTo>
                    <a:pt x="44080" y="122748"/>
                  </a:lnTo>
                  <a:lnTo>
                    <a:pt x="28557" y="110665"/>
                  </a:lnTo>
                  <a:lnTo>
                    <a:pt x="28344" y="103120"/>
                  </a:lnTo>
                  <a:lnTo>
                    <a:pt x="15705" y="93734"/>
                  </a:lnTo>
                  <a:lnTo>
                    <a:pt x="0" y="84656"/>
                  </a:lnTo>
                  <a:lnTo>
                    <a:pt x="7088" y="82122"/>
                  </a:lnTo>
                  <a:lnTo>
                    <a:pt x="15014" y="77730"/>
                  </a:lnTo>
                  <a:lnTo>
                    <a:pt x="20958" y="56947"/>
                  </a:lnTo>
                  <a:lnTo>
                    <a:pt x="27298" y="46141"/>
                  </a:lnTo>
                  <a:lnTo>
                    <a:pt x="43941" y="42938"/>
                  </a:lnTo>
                  <a:lnTo>
                    <a:pt x="47904" y="49344"/>
                  </a:lnTo>
                  <a:lnTo>
                    <a:pt x="59792" y="62945"/>
                  </a:lnTo>
                  <a:lnTo>
                    <a:pt x="66132" y="64944"/>
                  </a:lnTo>
                  <a:lnTo>
                    <a:pt x="74454" y="60946"/>
                  </a:lnTo>
                  <a:lnTo>
                    <a:pt x="91097" y="61746"/>
                  </a:lnTo>
                  <a:lnTo>
                    <a:pt x="94267" y="66543"/>
                  </a:lnTo>
                  <a:lnTo>
                    <a:pt x="117251" y="66543"/>
                  </a:lnTo>
                  <a:lnTo>
                    <a:pt x="118044" y="61746"/>
                  </a:lnTo>
                  <a:lnTo>
                    <a:pt x="129932" y="57347"/>
                  </a:lnTo>
                  <a:lnTo>
                    <a:pt x="132309" y="50545"/>
                  </a:lnTo>
                  <a:lnTo>
                    <a:pt x="141027" y="45741"/>
                  </a:lnTo>
                  <a:lnTo>
                    <a:pt x="160444" y="59347"/>
                  </a:lnTo>
                  <a:lnTo>
                    <a:pt x="172332" y="56947"/>
                  </a:lnTo>
                  <a:lnTo>
                    <a:pt x="183824" y="40134"/>
                  </a:lnTo>
                  <a:lnTo>
                    <a:pt x="196505" y="27307"/>
                  </a:lnTo>
                  <a:lnTo>
                    <a:pt x="194524" y="13261"/>
                  </a:lnTo>
                  <a:lnTo>
                    <a:pt x="188976" y="6432"/>
                  </a:lnTo>
                  <a:lnTo>
                    <a:pt x="202845" y="5226"/>
                  </a:lnTo>
                  <a:lnTo>
                    <a:pt x="204430" y="0"/>
                  </a:lnTo>
                  <a:lnTo>
                    <a:pt x="215129" y="1608"/>
                  </a:lnTo>
                  <a:lnTo>
                    <a:pt x="212355" y="18882"/>
                  </a:lnTo>
                  <a:lnTo>
                    <a:pt x="215129" y="35727"/>
                  </a:lnTo>
                  <a:lnTo>
                    <a:pt x="227017" y="44940"/>
                  </a:lnTo>
                  <a:lnTo>
                    <a:pt x="229792" y="52946"/>
                  </a:lnTo>
                  <a:lnTo>
                    <a:pt x="229395" y="6454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44" name="Freeform 142">
              <a:extLst>
                <a:ext uri="{FF2B5EF4-FFF2-40B4-BE49-F238E27FC236}">
                  <a16:creationId xmlns:a16="http://schemas.microsoft.com/office/drawing/2014/main" id="{62FC2AE6-706A-1A43-8643-7DCDBA34095F}"/>
                </a:ext>
              </a:extLst>
            </p:cNvPr>
            <p:cNvSpPr>
              <a:spLocks noChangeAspect="1"/>
            </p:cNvSpPr>
            <p:nvPr>
              <p:custDataLst>
                <p:tags r:id="rId148"/>
              </p:custDataLst>
            </p:nvPr>
          </p:nvSpPr>
          <p:spPr>
            <a:xfrm>
              <a:off x="3953853" y="4141362"/>
              <a:ext cx="142125" cy="100535"/>
            </a:xfrm>
            <a:custGeom>
              <a:avLst/>
              <a:gdLst/>
              <a:ahLst/>
              <a:cxnLst/>
              <a:rect l="0" t="0" r="0" b="0"/>
              <a:pathLst>
                <a:path w="142125" h="100535">
                  <a:moveTo>
                    <a:pt x="21036" y="70899"/>
                  </a:moveTo>
                  <a:lnTo>
                    <a:pt x="11517" y="52580"/>
                  </a:lnTo>
                  <a:lnTo>
                    <a:pt x="0" y="44189"/>
                  </a:lnTo>
                  <a:lnTo>
                    <a:pt x="10154" y="39709"/>
                  </a:lnTo>
                  <a:lnTo>
                    <a:pt x="21337" y="23128"/>
                  </a:lnTo>
                  <a:lnTo>
                    <a:pt x="26821" y="10978"/>
                  </a:lnTo>
                  <a:lnTo>
                    <a:pt x="34725" y="3381"/>
                  </a:lnTo>
                  <a:lnTo>
                    <a:pt x="46197" y="5427"/>
                  </a:lnTo>
                  <a:lnTo>
                    <a:pt x="57460" y="260"/>
                  </a:lnTo>
                  <a:lnTo>
                    <a:pt x="70349" y="0"/>
                  </a:lnTo>
                  <a:lnTo>
                    <a:pt x="81379" y="6968"/>
                  </a:lnTo>
                  <a:lnTo>
                    <a:pt x="96701" y="13243"/>
                  </a:lnTo>
                  <a:lnTo>
                    <a:pt x="110668" y="30639"/>
                  </a:lnTo>
                  <a:lnTo>
                    <a:pt x="125900" y="46846"/>
                  </a:lnTo>
                  <a:lnTo>
                    <a:pt x="126959" y="61497"/>
                  </a:lnTo>
                  <a:lnTo>
                    <a:pt x="131510" y="74962"/>
                  </a:lnTo>
                  <a:lnTo>
                    <a:pt x="140150" y="81558"/>
                  </a:lnTo>
                  <a:lnTo>
                    <a:pt x="142124" y="90632"/>
                  </a:lnTo>
                  <a:lnTo>
                    <a:pt x="141061" y="97935"/>
                  </a:lnTo>
                  <a:lnTo>
                    <a:pt x="137729" y="99257"/>
                  </a:lnTo>
                  <a:lnTo>
                    <a:pt x="125143" y="97404"/>
                  </a:lnTo>
                  <a:lnTo>
                    <a:pt x="123411" y="100010"/>
                  </a:lnTo>
                  <a:lnTo>
                    <a:pt x="118322" y="100534"/>
                  </a:lnTo>
                  <a:lnTo>
                    <a:pt x="101731" y="94821"/>
                  </a:lnTo>
                  <a:lnTo>
                    <a:pt x="90590" y="94579"/>
                  </a:lnTo>
                  <a:lnTo>
                    <a:pt x="47933" y="93594"/>
                  </a:lnTo>
                  <a:lnTo>
                    <a:pt x="41745" y="96234"/>
                  </a:lnTo>
                  <a:lnTo>
                    <a:pt x="34101" y="95479"/>
                  </a:lnTo>
                  <a:lnTo>
                    <a:pt x="21873" y="99298"/>
                  </a:lnTo>
                  <a:lnTo>
                    <a:pt x="18086" y="81319"/>
                  </a:lnTo>
                  <a:lnTo>
                    <a:pt x="39097" y="81814"/>
                  </a:lnTo>
                  <a:lnTo>
                    <a:pt x="44643" y="78525"/>
                  </a:lnTo>
                  <a:lnTo>
                    <a:pt x="48779" y="78332"/>
                  </a:lnTo>
                  <a:lnTo>
                    <a:pt x="57335" y="72907"/>
                  </a:lnTo>
                  <a:lnTo>
                    <a:pt x="67236" y="77871"/>
                  </a:lnTo>
                  <a:lnTo>
                    <a:pt x="77266" y="78285"/>
                  </a:lnTo>
                  <a:lnTo>
                    <a:pt x="87255" y="73012"/>
                  </a:lnTo>
                  <a:lnTo>
                    <a:pt x="82591" y="66218"/>
                  </a:lnTo>
                  <a:lnTo>
                    <a:pt x="74981" y="70177"/>
                  </a:lnTo>
                  <a:lnTo>
                    <a:pt x="67817" y="70067"/>
                  </a:lnTo>
                  <a:lnTo>
                    <a:pt x="58707" y="64279"/>
                  </a:lnTo>
                  <a:lnTo>
                    <a:pt x="51389" y="64658"/>
                  </a:lnTo>
                  <a:lnTo>
                    <a:pt x="46176" y="7022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45" name="Freeform 143">
              <a:extLst>
                <a:ext uri="{FF2B5EF4-FFF2-40B4-BE49-F238E27FC236}">
                  <a16:creationId xmlns:a16="http://schemas.microsoft.com/office/drawing/2014/main" id="{89B91A4A-C79E-BB4C-B9A9-B707FAD0549A}"/>
                </a:ext>
              </a:extLst>
            </p:cNvPr>
            <p:cNvSpPr>
              <a:spLocks noChangeAspect="1"/>
            </p:cNvSpPr>
            <p:nvPr>
              <p:custDataLst>
                <p:tags r:id="rId149"/>
              </p:custDataLst>
            </p:nvPr>
          </p:nvSpPr>
          <p:spPr>
            <a:xfrm>
              <a:off x="7972926" y="4680516"/>
              <a:ext cx="136356" cy="98312"/>
            </a:xfrm>
            <a:custGeom>
              <a:avLst/>
              <a:gdLst/>
              <a:ahLst/>
              <a:cxnLst/>
              <a:rect l="l" t="t" r="r" b="b"/>
              <a:pathLst>
                <a:path w="136356" h="98312">
                  <a:moveTo>
                    <a:pt x="111453" y="83808"/>
                  </a:moveTo>
                  <a:lnTo>
                    <a:pt x="125247" y="89451"/>
                  </a:lnTo>
                  <a:lnTo>
                    <a:pt x="129901" y="90291"/>
                  </a:lnTo>
                  <a:lnTo>
                    <a:pt x="136356" y="98312"/>
                  </a:lnTo>
                  <a:lnTo>
                    <a:pt x="120230" y="98164"/>
                  </a:lnTo>
                  <a:close/>
                  <a:moveTo>
                    <a:pt x="74132" y="61400"/>
                  </a:moveTo>
                  <a:lnTo>
                    <a:pt x="89367" y="65063"/>
                  </a:lnTo>
                  <a:lnTo>
                    <a:pt x="96881" y="69950"/>
                  </a:lnTo>
                  <a:lnTo>
                    <a:pt x="100660" y="76073"/>
                  </a:lnTo>
                  <a:lnTo>
                    <a:pt x="91666" y="76592"/>
                  </a:lnTo>
                  <a:lnTo>
                    <a:pt x="77514" y="74234"/>
                  </a:lnTo>
                  <a:lnTo>
                    <a:pt x="72679" y="70645"/>
                  </a:lnTo>
                  <a:close/>
                  <a:moveTo>
                    <a:pt x="94377" y="39935"/>
                  </a:moveTo>
                  <a:lnTo>
                    <a:pt x="102225" y="39935"/>
                  </a:lnTo>
                  <a:lnTo>
                    <a:pt x="110534" y="58539"/>
                  </a:lnTo>
                  <a:lnTo>
                    <a:pt x="119767" y="69714"/>
                  </a:lnTo>
                  <a:lnTo>
                    <a:pt x="116291" y="74008"/>
                  </a:lnTo>
                  <a:lnTo>
                    <a:pt x="99184" y="53828"/>
                  </a:lnTo>
                  <a:close/>
                  <a:moveTo>
                    <a:pt x="43132" y="16714"/>
                  </a:moveTo>
                  <a:lnTo>
                    <a:pt x="53752" y="22284"/>
                  </a:lnTo>
                  <a:lnTo>
                    <a:pt x="72679" y="32965"/>
                  </a:lnTo>
                  <a:lnTo>
                    <a:pt x="78104" y="40337"/>
                  </a:lnTo>
                  <a:lnTo>
                    <a:pt x="79082" y="45009"/>
                  </a:lnTo>
                  <a:lnTo>
                    <a:pt x="60991" y="35153"/>
                  </a:lnTo>
                  <a:lnTo>
                    <a:pt x="48353" y="26807"/>
                  </a:lnTo>
                  <a:lnTo>
                    <a:pt x="39697" y="19078"/>
                  </a:lnTo>
                  <a:close/>
                  <a:moveTo>
                    <a:pt x="1188" y="0"/>
                  </a:moveTo>
                  <a:lnTo>
                    <a:pt x="14972" y="9792"/>
                  </a:lnTo>
                  <a:lnTo>
                    <a:pt x="24169" y="17359"/>
                  </a:lnTo>
                  <a:lnTo>
                    <a:pt x="19575" y="18681"/>
                  </a:lnTo>
                  <a:lnTo>
                    <a:pt x="9479" y="13393"/>
                  </a:lnTo>
                  <a:lnTo>
                    <a:pt x="0" y="386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46" name="Freeform 144">
              <a:extLst>
                <a:ext uri="{FF2B5EF4-FFF2-40B4-BE49-F238E27FC236}">
                  <a16:creationId xmlns:a16="http://schemas.microsoft.com/office/drawing/2014/main" id="{CE60A88F-8976-5E4F-9F88-87067FC538DB}"/>
                </a:ext>
              </a:extLst>
            </p:cNvPr>
            <p:cNvSpPr>
              <a:spLocks noChangeAspect="1"/>
            </p:cNvSpPr>
            <p:nvPr>
              <p:custDataLst>
                <p:tags r:id="rId150"/>
              </p:custDataLst>
            </p:nvPr>
          </p:nvSpPr>
          <p:spPr>
            <a:xfrm>
              <a:off x="4054921" y="4295295"/>
              <a:ext cx="69629" cy="75805"/>
            </a:xfrm>
            <a:custGeom>
              <a:avLst/>
              <a:gdLst/>
              <a:ahLst/>
              <a:cxnLst/>
              <a:rect l="0" t="0" r="0" b="0"/>
              <a:pathLst>
                <a:path w="69629" h="75805">
                  <a:moveTo>
                    <a:pt x="41728" y="75804"/>
                  </a:moveTo>
                  <a:lnTo>
                    <a:pt x="35509" y="74084"/>
                  </a:lnTo>
                  <a:lnTo>
                    <a:pt x="18892" y="64739"/>
                  </a:lnTo>
                  <a:lnTo>
                    <a:pt x="6867" y="52305"/>
                  </a:lnTo>
                  <a:lnTo>
                    <a:pt x="2828" y="43820"/>
                  </a:lnTo>
                  <a:lnTo>
                    <a:pt x="0" y="26638"/>
                  </a:lnTo>
                  <a:lnTo>
                    <a:pt x="12340" y="16407"/>
                  </a:lnTo>
                  <a:lnTo>
                    <a:pt x="15000" y="9945"/>
                  </a:lnTo>
                  <a:lnTo>
                    <a:pt x="18942" y="4921"/>
                  </a:lnTo>
                  <a:lnTo>
                    <a:pt x="25303" y="4391"/>
                  </a:lnTo>
                  <a:lnTo>
                    <a:pt x="30683" y="0"/>
                  </a:lnTo>
                  <a:lnTo>
                    <a:pt x="49144" y="26"/>
                  </a:lnTo>
                  <a:lnTo>
                    <a:pt x="55569" y="8360"/>
                  </a:lnTo>
                  <a:lnTo>
                    <a:pt x="60572" y="18148"/>
                  </a:lnTo>
                  <a:lnTo>
                    <a:pt x="59825" y="24913"/>
                  </a:lnTo>
                  <a:lnTo>
                    <a:pt x="63529" y="30999"/>
                  </a:lnTo>
                  <a:lnTo>
                    <a:pt x="63271" y="39523"/>
                  </a:lnTo>
                  <a:lnTo>
                    <a:pt x="69628" y="38191"/>
                  </a:lnTo>
                  <a:lnTo>
                    <a:pt x="58883" y="49035"/>
                  </a:lnTo>
                  <a:lnTo>
                    <a:pt x="48470" y="61636"/>
                  </a:lnTo>
                  <a:lnTo>
                    <a:pt x="47244" y="6838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47" name="Freeform 145">
              <a:extLst>
                <a:ext uri="{FF2B5EF4-FFF2-40B4-BE49-F238E27FC236}">
                  <a16:creationId xmlns:a16="http://schemas.microsoft.com/office/drawing/2014/main" id="{C7D9353D-1F8B-F746-94A3-16AB058DD2E0}"/>
                </a:ext>
              </a:extLst>
            </p:cNvPr>
            <p:cNvSpPr>
              <a:spLocks noChangeAspect="1"/>
            </p:cNvSpPr>
            <p:nvPr>
              <p:custDataLst>
                <p:tags r:id="rId151"/>
              </p:custDataLst>
            </p:nvPr>
          </p:nvSpPr>
          <p:spPr>
            <a:xfrm>
              <a:off x="5343056" y="4262259"/>
              <a:ext cx="147487" cy="80739"/>
            </a:xfrm>
            <a:custGeom>
              <a:avLst/>
              <a:gdLst/>
              <a:ahLst/>
              <a:cxnLst/>
              <a:rect l="0" t="0" r="0" b="0"/>
              <a:pathLst>
                <a:path w="147487" h="80739">
                  <a:moveTo>
                    <a:pt x="147253" y="46904"/>
                  </a:moveTo>
                  <a:lnTo>
                    <a:pt x="136834" y="61196"/>
                  </a:lnTo>
                  <a:lnTo>
                    <a:pt x="120738" y="80595"/>
                  </a:lnTo>
                  <a:lnTo>
                    <a:pt x="101324" y="80738"/>
                  </a:lnTo>
                  <a:lnTo>
                    <a:pt x="25853" y="53147"/>
                  </a:lnTo>
                  <a:lnTo>
                    <a:pt x="17040" y="44838"/>
                  </a:lnTo>
                  <a:lnTo>
                    <a:pt x="8526" y="33620"/>
                  </a:lnTo>
                  <a:lnTo>
                    <a:pt x="0" y="20777"/>
                  </a:lnTo>
                  <a:lnTo>
                    <a:pt x="5035" y="12506"/>
                  </a:lnTo>
                  <a:lnTo>
                    <a:pt x="13540" y="0"/>
                  </a:lnTo>
                  <a:lnTo>
                    <a:pt x="21050" y="4309"/>
                  </a:lnTo>
                  <a:lnTo>
                    <a:pt x="25574" y="13970"/>
                  </a:lnTo>
                  <a:lnTo>
                    <a:pt x="35987" y="23741"/>
                  </a:lnTo>
                  <a:lnTo>
                    <a:pt x="47447" y="23819"/>
                  </a:lnTo>
                  <a:lnTo>
                    <a:pt x="69207" y="17849"/>
                  </a:lnTo>
                  <a:lnTo>
                    <a:pt x="94331" y="15082"/>
                  </a:lnTo>
                  <a:lnTo>
                    <a:pt x="114650" y="7826"/>
                  </a:lnTo>
                  <a:lnTo>
                    <a:pt x="126097" y="6287"/>
                  </a:lnTo>
                  <a:lnTo>
                    <a:pt x="134342" y="2024"/>
                  </a:lnTo>
                  <a:lnTo>
                    <a:pt x="147486" y="1202"/>
                  </a:lnTo>
                  <a:lnTo>
                    <a:pt x="147343" y="1585"/>
                  </a:lnTo>
                  <a:lnTo>
                    <a:pt x="147262" y="11211"/>
                  </a:lnTo>
                  <a:lnTo>
                    <a:pt x="147256" y="3474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48" name="Freeform 146">
              <a:extLst>
                <a:ext uri="{FF2B5EF4-FFF2-40B4-BE49-F238E27FC236}">
                  <a16:creationId xmlns:a16="http://schemas.microsoft.com/office/drawing/2014/main" id="{F1B4C103-9670-E048-986B-AAC2947BDD10}"/>
                </a:ext>
              </a:extLst>
            </p:cNvPr>
            <p:cNvSpPr>
              <a:spLocks noChangeAspect="1"/>
            </p:cNvSpPr>
            <p:nvPr>
              <p:custDataLst>
                <p:tags r:id="rId152"/>
              </p:custDataLst>
            </p:nvPr>
          </p:nvSpPr>
          <p:spPr>
            <a:xfrm>
              <a:off x="5306639" y="4249096"/>
              <a:ext cx="234355" cy="317733"/>
            </a:xfrm>
            <a:custGeom>
              <a:avLst/>
              <a:gdLst/>
              <a:ahLst/>
              <a:cxnLst/>
              <a:rect l="0" t="0" r="0" b="0"/>
              <a:pathLst>
                <a:path w="234355" h="317733">
                  <a:moveTo>
                    <a:pt x="201917" y="10430"/>
                  </a:moveTo>
                  <a:lnTo>
                    <a:pt x="214155" y="8076"/>
                  </a:lnTo>
                  <a:lnTo>
                    <a:pt x="225078" y="64"/>
                  </a:lnTo>
                  <a:lnTo>
                    <a:pt x="233831" y="0"/>
                  </a:lnTo>
                  <a:lnTo>
                    <a:pt x="234354" y="6471"/>
                  </a:lnTo>
                  <a:lnTo>
                    <a:pt x="232223" y="20071"/>
                  </a:lnTo>
                  <a:lnTo>
                    <a:pt x="232310" y="32345"/>
                  </a:lnTo>
                  <a:lnTo>
                    <a:pt x="227436" y="40772"/>
                  </a:lnTo>
                  <a:lnTo>
                    <a:pt x="220932" y="65957"/>
                  </a:lnTo>
                  <a:lnTo>
                    <a:pt x="209818" y="91929"/>
                  </a:lnTo>
                  <a:lnTo>
                    <a:pt x="195548" y="121568"/>
                  </a:lnTo>
                  <a:lnTo>
                    <a:pt x="175740" y="155519"/>
                  </a:lnTo>
                  <a:lnTo>
                    <a:pt x="156033" y="181423"/>
                  </a:lnTo>
                  <a:lnTo>
                    <a:pt x="128887" y="212949"/>
                  </a:lnTo>
                  <a:lnTo>
                    <a:pt x="105786" y="231646"/>
                  </a:lnTo>
                  <a:lnTo>
                    <a:pt x="71258" y="254572"/>
                  </a:lnTo>
                  <a:lnTo>
                    <a:pt x="49741" y="272130"/>
                  </a:lnTo>
                  <a:lnTo>
                    <a:pt x="24479" y="300092"/>
                  </a:lnTo>
                  <a:lnTo>
                    <a:pt x="19156" y="312265"/>
                  </a:lnTo>
                  <a:lnTo>
                    <a:pt x="13944" y="317732"/>
                  </a:lnTo>
                  <a:lnTo>
                    <a:pt x="275" y="298687"/>
                  </a:lnTo>
                  <a:lnTo>
                    <a:pt x="0" y="214584"/>
                  </a:lnTo>
                  <a:lnTo>
                    <a:pt x="20175" y="188370"/>
                  </a:lnTo>
                  <a:lnTo>
                    <a:pt x="26489" y="181082"/>
                  </a:lnTo>
                  <a:lnTo>
                    <a:pt x="41286" y="180656"/>
                  </a:lnTo>
                  <a:lnTo>
                    <a:pt x="61857" y="164350"/>
                  </a:lnTo>
                  <a:lnTo>
                    <a:pt x="91928" y="163330"/>
                  </a:lnTo>
                  <a:lnTo>
                    <a:pt x="157155" y="93758"/>
                  </a:lnTo>
                  <a:lnTo>
                    <a:pt x="173251" y="74359"/>
                  </a:lnTo>
                  <a:lnTo>
                    <a:pt x="183670" y="60067"/>
                  </a:lnTo>
                  <a:lnTo>
                    <a:pt x="183673" y="47912"/>
                  </a:lnTo>
                  <a:lnTo>
                    <a:pt x="183679" y="24374"/>
                  </a:lnTo>
                  <a:lnTo>
                    <a:pt x="183760" y="14748"/>
                  </a:lnTo>
                  <a:lnTo>
                    <a:pt x="183903" y="14365"/>
                  </a:lnTo>
                  <a:lnTo>
                    <a:pt x="191279" y="1390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49" name="Freeform 147">
              <a:extLst>
                <a:ext uri="{FF2B5EF4-FFF2-40B4-BE49-F238E27FC236}">
                  <a16:creationId xmlns:a16="http://schemas.microsoft.com/office/drawing/2014/main" id="{36C92FDA-3323-644D-A645-7687783AA09B}"/>
                </a:ext>
              </a:extLst>
            </p:cNvPr>
            <p:cNvSpPr>
              <a:spLocks noChangeAspect="1"/>
            </p:cNvSpPr>
            <p:nvPr>
              <p:custDataLst>
                <p:tags r:id="rId153"/>
              </p:custDataLst>
            </p:nvPr>
          </p:nvSpPr>
          <p:spPr>
            <a:xfrm>
              <a:off x="4795329" y="3379642"/>
              <a:ext cx="95937" cy="111173"/>
            </a:xfrm>
            <a:custGeom>
              <a:avLst/>
              <a:gdLst/>
              <a:ahLst/>
              <a:cxnLst/>
              <a:rect l="0" t="0" r="0" b="0"/>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50" name="Freeform 148">
              <a:extLst>
                <a:ext uri="{FF2B5EF4-FFF2-40B4-BE49-F238E27FC236}">
                  <a16:creationId xmlns:a16="http://schemas.microsoft.com/office/drawing/2014/main" id="{B2994C13-C736-FA4E-B243-B5A17749EF7B}"/>
                </a:ext>
              </a:extLst>
            </p:cNvPr>
            <p:cNvSpPr>
              <a:spLocks noChangeAspect="1"/>
            </p:cNvSpPr>
            <p:nvPr>
              <p:custDataLst>
                <p:tags r:id="rId154"/>
              </p:custDataLst>
            </p:nvPr>
          </p:nvSpPr>
          <p:spPr>
            <a:xfrm>
              <a:off x="4750322" y="3279625"/>
              <a:ext cx="131067" cy="53806"/>
            </a:xfrm>
            <a:custGeom>
              <a:avLst/>
              <a:gdLst/>
              <a:ahLst/>
              <a:cxnLst/>
              <a:rect l="0" t="0" r="0" b="0"/>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51" name="Freeform 149">
              <a:extLst>
                <a:ext uri="{FF2B5EF4-FFF2-40B4-BE49-F238E27FC236}">
                  <a16:creationId xmlns:a16="http://schemas.microsoft.com/office/drawing/2014/main" id="{98B2FAF9-89AD-9543-835B-CA97D8470FB2}"/>
                </a:ext>
              </a:extLst>
            </p:cNvPr>
            <p:cNvSpPr>
              <a:spLocks noChangeAspect="1"/>
            </p:cNvSpPr>
            <p:nvPr>
              <p:custDataLst>
                <p:tags r:id="rId155"/>
              </p:custDataLst>
            </p:nvPr>
          </p:nvSpPr>
          <p:spPr>
            <a:xfrm>
              <a:off x="4676875" y="3359915"/>
              <a:ext cx="66173" cy="40426"/>
            </a:xfrm>
            <a:custGeom>
              <a:avLst/>
              <a:gdLst/>
              <a:ahLst/>
              <a:cxnLst/>
              <a:rect l="0" t="0" r="0" b="0"/>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52" name="Freeform 150">
              <a:extLst>
                <a:ext uri="{FF2B5EF4-FFF2-40B4-BE49-F238E27FC236}">
                  <a16:creationId xmlns:a16="http://schemas.microsoft.com/office/drawing/2014/main" id="{230F0114-ADEA-AC45-A10A-006C72AA1A8B}"/>
                </a:ext>
              </a:extLst>
            </p:cNvPr>
            <p:cNvSpPr>
              <a:spLocks noChangeAspect="1"/>
            </p:cNvSpPr>
            <p:nvPr>
              <p:custDataLst>
                <p:tags r:id="rId156"/>
              </p:custDataLst>
            </p:nvPr>
          </p:nvSpPr>
          <p:spPr>
            <a:xfrm>
              <a:off x="4615228" y="2605431"/>
              <a:ext cx="297213" cy="494295"/>
            </a:xfrm>
            <a:custGeom>
              <a:avLst/>
              <a:gdLst/>
              <a:ahLst/>
              <a:cxnLst/>
              <a:rect l="0" t="0" r="0" b="0"/>
              <a:pathLst>
                <a:path w="297213" h="494295">
                  <a:moveTo>
                    <a:pt x="257506" y="132676"/>
                  </a:moveTo>
                  <a:lnTo>
                    <a:pt x="235123" y="159012"/>
                  </a:lnTo>
                  <a:lnTo>
                    <a:pt x="238727" y="181860"/>
                  </a:lnTo>
                  <a:lnTo>
                    <a:pt x="202008" y="211485"/>
                  </a:lnTo>
                  <a:lnTo>
                    <a:pt x="157433" y="242729"/>
                  </a:lnTo>
                  <a:lnTo>
                    <a:pt x="140624" y="292923"/>
                  </a:lnTo>
                  <a:lnTo>
                    <a:pt x="157054" y="317610"/>
                  </a:lnTo>
                  <a:lnTo>
                    <a:pt x="179129" y="336852"/>
                  </a:lnTo>
                  <a:lnTo>
                    <a:pt x="157928" y="375482"/>
                  </a:lnTo>
                  <a:lnTo>
                    <a:pt x="133921" y="383411"/>
                  </a:lnTo>
                  <a:lnTo>
                    <a:pt x="125116" y="439506"/>
                  </a:lnTo>
                  <a:lnTo>
                    <a:pt x="112006" y="470226"/>
                  </a:lnTo>
                  <a:lnTo>
                    <a:pt x="84005" y="467078"/>
                  </a:lnTo>
                  <a:lnTo>
                    <a:pt x="70941" y="492808"/>
                  </a:lnTo>
                  <a:lnTo>
                    <a:pt x="44215" y="494294"/>
                  </a:lnTo>
                  <a:lnTo>
                    <a:pt x="36880" y="463611"/>
                  </a:lnTo>
                  <a:lnTo>
                    <a:pt x="17556" y="426240"/>
                  </a:lnTo>
                  <a:lnTo>
                    <a:pt x="0" y="378794"/>
                  </a:lnTo>
                  <a:lnTo>
                    <a:pt x="10177" y="359174"/>
                  </a:lnTo>
                  <a:lnTo>
                    <a:pt x="29384" y="335608"/>
                  </a:lnTo>
                  <a:lnTo>
                    <a:pt x="37019" y="294600"/>
                  </a:lnTo>
                  <a:lnTo>
                    <a:pt x="22267" y="276683"/>
                  </a:lnTo>
                  <a:lnTo>
                    <a:pt x="20848" y="229021"/>
                  </a:lnTo>
                  <a:lnTo>
                    <a:pt x="35837" y="194710"/>
                  </a:lnTo>
                  <a:lnTo>
                    <a:pt x="58735" y="195340"/>
                  </a:lnTo>
                  <a:lnTo>
                    <a:pt x="66767" y="180678"/>
                  </a:lnTo>
                  <a:lnTo>
                    <a:pt x="58360" y="167958"/>
                  </a:lnTo>
                  <a:lnTo>
                    <a:pt x="94201" y="114740"/>
                  </a:lnTo>
                  <a:lnTo>
                    <a:pt x="117290" y="71821"/>
                  </a:lnTo>
                  <a:lnTo>
                    <a:pt x="132529" y="43795"/>
                  </a:lnTo>
                  <a:lnTo>
                    <a:pt x="154696" y="43929"/>
                  </a:lnTo>
                  <a:lnTo>
                    <a:pt x="160805" y="21724"/>
                  </a:lnTo>
                  <a:lnTo>
                    <a:pt x="204309" y="28137"/>
                  </a:lnTo>
                  <a:lnTo>
                    <a:pt x="207695" y="1666"/>
                  </a:lnTo>
                  <a:lnTo>
                    <a:pt x="222014" y="0"/>
                  </a:lnTo>
                  <a:lnTo>
                    <a:pt x="252782" y="19740"/>
                  </a:lnTo>
                  <a:lnTo>
                    <a:pt x="288813" y="46883"/>
                  </a:lnTo>
                  <a:lnTo>
                    <a:pt x="289422" y="106979"/>
                  </a:lnTo>
                  <a:lnTo>
                    <a:pt x="297212" y="12189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53" name="Freeform 151">
              <a:extLst>
                <a:ext uri="{FF2B5EF4-FFF2-40B4-BE49-F238E27FC236}">
                  <a16:creationId xmlns:a16="http://schemas.microsoft.com/office/drawing/2014/main" id="{3903FE22-A0CC-354E-A5BE-B83B388F255A}"/>
                </a:ext>
              </a:extLst>
            </p:cNvPr>
            <p:cNvSpPr>
              <a:spLocks noChangeAspect="1"/>
            </p:cNvSpPr>
            <p:nvPr>
              <p:custDataLst>
                <p:tags r:id="rId157"/>
              </p:custDataLst>
            </p:nvPr>
          </p:nvSpPr>
          <p:spPr>
            <a:xfrm>
              <a:off x="5068785" y="5133371"/>
              <a:ext cx="32202" cy="40246"/>
            </a:xfrm>
            <a:custGeom>
              <a:avLst/>
              <a:gdLst/>
              <a:ahLst/>
              <a:cxnLst/>
              <a:rect l="0" t="0" r="0" b="0"/>
              <a:pathLst>
                <a:path w="32202" h="40246">
                  <a:moveTo>
                    <a:pt x="32201" y="26538"/>
                  </a:moveTo>
                  <a:lnTo>
                    <a:pt x="27502" y="37561"/>
                  </a:lnTo>
                  <a:lnTo>
                    <a:pt x="13992" y="40245"/>
                  </a:lnTo>
                  <a:lnTo>
                    <a:pt x="216" y="26787"/>
                  </a:lnTo>
                  <a:lnTo>
                    <a:pt x="0" y="18223"/>
                  </a:lnTo>
                  <a:lnTo>
                    <a:pt x="6303" y="8942"/>
                  </a:lnTo>
                  <a:lnTo>
                    <a:pt x="8482" y="1757"/>
                  </a:lnTo>
                  <a:lnTo>
                    <a:pt x="15155" y="0"/>
                  </a:lnTo>
                  <a:lnTo>
                    <a:pt x="26802" y="4516"/>
                  </a:lnTo>
                  <a:lnTo>
                    <a:pt x="30219" y="1559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54" name="Freeform 152">
              <a:extLst>
                <a:ext uri="{FF2B5EF4-FFF2-40B4-BE49-F238E27FC236}">
                  <a16:creationId xmlns:a16="http://schemas.microsoft.com/office/drawing/2014/main" id="{AE9D1351-20DC-BD45-BD1E-34A7ADE0016E}"/>
                </a:ext>
              </a:extLst>
            </p:cNvPr>
            <p:cNvSpPr>
              <a:spLocks noChangeAspect="1"/>
            </p:cNvSpPr>
            <p:nvPr>
              <p:custDataLst>
                <p:tags r:id="rId158"/>
              </p:custDataLst>
            </p:nvPr>
          </p:nvSpPr>
          <p:spPr>
            <a:xfrm>
              <a:off x="5184756" y="3627063"/>
              <a:ext cx="153473" cy="128366"/>
            </a:xfrm>
            <a:custGeom>
              <a:avLst/>
              <a:gdLst/>
              <a:ahLst/>
              <a:cxnLst/>
              <a:rect l="0" t="0" r="0" b="0"/>
              <a:pathLst>
                <a:path w="153473" h="128366">
                  <a:moveTo>
                    <a:pt x="71362" y="100929"/>
                  </a:moveTo>
                  <a:lnTo>
                    <a:pt x="26159" y="128365"/>
                  </a:lnTo>
                  <a:lnTo>
                    <a:pt x="442" y="118187"/>
                  </a:lnTo>
                  <a:lnTo>
                    <a:pt x="0" y="118012"/>
                  </a:lnTo>
                  <a:lnTo>
                    <a:pt x="3130" y="114098"/>
                  </a:lnTo>
                  <a:lnTo>
                    <a:pt x="2777" y="103545"/>
                  </a:lnTo>
                  <a:lnTo>
                    <a:pt x="8441" y="89381"/>
                  </a:lnTo>
                  <a:lnTo>
                    <a:pt x="21028" y="79599"/>
                  </a:lnTo>
                  <a:lnTo>
                    <a:pt x="17252" y="69393"/>
                  </a:lnTo>
                  <a:lnTo>
                    <a:pt x="6870" y="68064"/>
                  </a:lnTo>
                  <a:lnTo>
                    <a:pt x="4714" y="48058"/>
                  </a:lnTo>
                  <a:lnTo>
                    <a:pt x="10364" y="37250"/>
                  </a:lnTo>
                  <a:lnTo>
                    <a:pt x="16545" y="31482"/>
                  </a:lnTo>
                  <a:lnTo>
                    <a:pt x="22727" y="25704"/>
                  </a:lnTo>
                  <a:lnTo>
                    <a:pt x="23976" y="10949"/>
                  </a:lnTo>
                  <a:lnTo>
                    <a:pt x="31531" y="16101"/>
                  </a:lnTo>
                  <a:lnTo>
                    <a:pt x="56944" y="8730"/>
                  </a:lnTo>
                  <a:lnTo>
                    <a:pt x="69228" y="13721"/>
                  </a:lnTo>
                  <a:lnTo>
                    <a:pt x="88217" y="13638"/>
                  </a:lnTo>
                  <a:lnTo>
                    <a:pt x="114778" y="3684"/>
                  </a:lnTo>
                  <a:lnTo>
                    <a:pt x="127216" y="4134"/>
                  </a:lnTo>
                  <a:lnTo>
                    <a:pt x="153472" y="0"/>
                  </a:lnTo>
                  <a:lnTo>
                    <a:pt x="141642" y="16556"/>
                  </a:lnTo>
                  <a:lnTo>
                    <a:pt x="129007" y="23087"/>
                  </a:lnTo>
                  <a:lnTo>
                    <a:pt x="131183" y="42329"/>
                  </a:lnTo>
                  <a:lnTo>
                    <a:pt x="122462" y="73940"/>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55" name="Freeform 153">
              <a:extLst>
                <a:ext uri="{FF2B5EF4-FFF2-40B4-BE49-F238E27FC236}">
                  <a16:creationId xmlns:a16="http://schemas.microsoft.com/office/drawing/2014/main" id="{446004AE-3251-EA4E-864A-3CDACC769E9E}"/>
                </a:ext>
              </a:extLst>
            </p:cNvPr>
            <p:cNvSpPr>
              <a:spLocks noChangeAspect="1"/>
            </p:cNvSpPr>
            <p:nvPr>
              <p:custDataLst>
                <p:tags r:id="rId159"/>
              </p:custDataLst>
            </p:nvPr>
          </p:nvSpPr>
          <p:spPr>
            <a:xfrm>
              <a:off x="4673235" y="3977725"/>
              <a:ext cx="238826" cy="378621"/>
            </a:xfrm>
            <a:custGeom>
              <a:avLst/>
              <a:gdLst/>
              <a:ahLst/>
              <a:cxnLst/>
              <a:rect l="0" t="0" r="0" b="0"/>
              <a:pathLst>
                <a:path w="238826" h="378621">
                  <a:moveTo>
                    <a:pt x="22053" y="251808"/>
                  </a:moveTo>
                  <a:lnTo>
                    <a:pt x="24361" y="240752"/>
                  </a:lnTo>
                  <a:lnTo>
                    <a:pt x="9558" y="240211"/>
                  </a:lnTo>
                  <a:lnTo>
                    <a:pt x="9609" y="225088"/>
                  </a:lnTo>
                  <a:lnTo>
                    <a:pt x="0" y="216367"/>
                  </a:lnTo>
                  <a:lnTo>
                    <a:pt x="9966" y="185279"/>
                  </a:lnTo>
                  <a:lnTo>
                    <a:pt x="39410" y="162948"/>
                  </a:lnTo>
                  <a:lnTo>
                    <a:pt x="40626" y="132030"/>
                  </a:lnTo>
                  <a:lnTo>
                    <a:pt x="49521" y="83500"/>
                  </a:lnTo>
                  <a:lnTo>
                    <a:pt x="54541" y="73157"/>
                  </a:lnTo>
                  <a:lnTo>
                    <a:pt x="44936" y="64907"/>
                  </a:lnTo>
                  <a:lnTo>
                    <a:pt x="44565" y="57242"/>
                  </a:lnTo>
                  <a:lnTo>
                    <a:pt x="35928" y="50967"/>
                  </a:lnTo>
                  <a:lnTo>
                    <a:pt x="30259" y="13309"/>
                  </a:lnTo>
                  <a:lnTo>
                    <a:pt x="53562" y="0"/>
                  </a:lnTo>
                  <a:lnTo>
                    <a:pt x="145626" y="46460"/>
                  </a:lnTo>
                  <a:lnTo>
                    <a:pt x="237688" y="92538"/>
                  </a:lnTo>
                  <a:lnTo>
                    <a:pt x="238825" y="187018"/>
                  </a:lnTo>
                  <a:lnTo>
                    <a:pt x="218921" y="185365"/>
                  </a:lnTo>
                  <a:lnTo>
                    <a:pt x="208380" y="202761"/>
                  </a:lnTo>
                  <a:lnTo>
                    <a:pt x="202276" y="217316"/>
                  </a:lnTo>
                  <a:lnTo>
                    <a:pt x="207089" y="222817"/>
                  </a:lnTo>
                  <a:lnTo>
                    <a:pt x="199501" y="230033"/>
                  </a:lnTo>
                  <a:lnTo>
                    <a:pt x="202116" y="239768"/>
                  </a:lnTo>
                  <a:lnTo>
                    <a:pt x="196138" y="249555"/>
                  </a:lnTo>
                  <a:lnTo>
                    <a:pt x="193812" y="258169"/>
                  </a:lnTo>
                  <a:lnTo>
                    <a:pt x="201918" y="256812"/>
                  </a:lnTo>
                  <a:lnTo>
                    <a:pt x="206757" y="265854"/>
                  </a:lnTo>
                  <a:lnTo>
                    <a:pt x="207012" y="279452"/>
                  </a:lnTo>
                  <a:lnTo>
                    <a:pt x="215496" y="286345"/>
                  </a:lnTo>
                  <a:lnTo>
                    <a:pt x="215218" y="292005"/>
                  </a:lnTo>
                  <a:lnTo>
                    <a:pt x="200605" y="295989"/>
                  </a:lnTo>
                  <a:lnTo>
                    <a:pt x="188895" y="305440"/>
                  </a:lnTo>
                  <a:lnTo>
                    <a:pt x="172208" y="330874"/>
                  </a:lnTo>
                  <a:lnTo>
                    <a:pt x="150483" y="341657"/>
                  </a:lnTo>
                  <a:lnTo>
                    <a:pt x="128192" y="340211"/>
                  </a:lnTo>
                  <a:lnTo>
                    <a:pt x="121683" y="342350"/>
                  </a:lnTo>
                  <a:lnTo>
                    <a:pt x="123968" y="350538"/>
                  </a:lnTo>
                  <a:lnTo>
                    <a:pt x="111931" y="358663"/>
                  </a:lnTo>
                  <a:lnTo>
                    <a:pt x="102130" y="367733"/>
                  </a:lnTo>
                  <a:lnTo>
                    <a:pt x="73070" y="376615"/>
                  </a:lnTo>
                  <a:lnTo>
                    <a:pt x="67304" y="371358"/>
                  </a:lnTo>
                  <a:lnTo>
                    <a:pt x="63481" y="370905"/>
                  </a:lnTo>
                  <a:lnTo>
                    <a:pt x="59227" y="376876"/>
                  </a:lnTo>
                  <a:lnTo>
                    <a:pt x="40142" y="378620"/>
                  </a:lnTo>
                  <a:lnTo>
                    <a:pt x="43758" y="372332"/>
                  </a:lnTo>
                  <a:lnTo>
                    <a:pt x="36481" y="356320"/>
                  </a:lnTo>
                  <a:lnTo>
                    <a:pt x="33230" y="346696"/>
                  </a:lnTo>
                  <a:lnTo>
                    <a:pt x="23177" y="342747"/>
                  </a:lnTo>
                  <a:lnTo>
                    <a:pt x="9552" y="329162"/>
                  </a:lnTo>
                  <a:lnTo>
                    <a:pt x="14567" y="318167"/>
                  </a:lnTo>
                  <a:lnTo>
                    <a:pt x="25086" y="320508"/>
                  </a:lnTo>
                  <a:lnTo>
                    <a:pt x="31599" y="318849"/>
                  </a:lnTo>
                  <a:lnTo>
                    <a:pt x="44491" y="319077"/>
                  </a:lnTo>
                  <a:lnTo>
                    <a:pt x="31927" y="297870"/>
                  </a:lnTo>
                  <a:lnTo>
                    <a:pt x="32772" y="282347"/>
                  </a:lnTo>
                  <a:lnTo>
                    <a:pt x="31230" y="26681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56" name="Freeform 154">
              <a:extLst>
                <a:ext uri="{FF2B5EF4-FFF2-40B4-BE49-F238E27FC236}">
                  <a16:creationId xmlns:a16="http://schemas.microsoft.com/office/drawing/2014/main" id="{D247C0E1-9E74-2C44-A7C9-3FE3B4740CA6}"/>
                </a:ext>
              </a:extLst>
            </p:cNvPr>
            <p:cNvSpPr>
              <a:spLocks noChangeAspect="1"/>
            </p:cNvSpPr>
            <p:nvPr>
              <p:custDataLst>
                <p:tags r:id="rId160"/>
              </p:custDataLst>
            </p:nvPr>
          </p:nvSpPr>
          <p:spPr>
            <a:xfrm>
              <a:off x="4359537" y="4272621"/>
              <a:ext cx="44205" cy="118341"/>
            </a:xfrm>
            <a:custGeom>
              <a:avLst/>
              <a:gdLst/>
              <a:ahLst/>
              <a:cxnLst/>
              <a:rect l="0" t="0" r="0" b="0"/>
              <a:pathLst>
                <a:path w="44205" h="118341">
                  <a:moveTo>
                    <a:pt x="44204" y="113398"/>
                  </a:moveTo>
                  <a:lnTo>
                    <a:pt x="25620" y="118340"/>
                  </a:lnTo>
                  <a:lnTo>
                    <a:pt x="20468" y="110205"/>
                  </a:lnTo>
                  <a:lnTo>
                    <a:pt x="14315" y="95499"/>
                  </a:lnTo>
                  <a:lnTo>
                    <a:pt x="12482" y="83960"/>
                  </a:lnTo>
                  <a:lnTo>
                    <a:pt x="17585" y="63043"/>
                  </a:lnTo>
                  <a:lnTo>
                    <a:pt x="11795" y="54564"/>
                  </a:lnTo>
                  <a:lnTo>
                    <a:pt x="9596" y="36233"/>
                  </a:lnTo>
                  <a:lnTo>
                    <a:pt x="9634" y="19311"/>
                  </a:lnTo>
                  <a:lnTo>
                    <a:pt x="0" y="7279"/>
                  </a:lnTo>
                  <a:lnTo>
                    <a:pt x="1699" y="0"/>
                  </a:lnTo>
                  <a:lnTo>
                    <a:pt x="21914" y="498"/>
                  </a:lnTo>
                  <a:lnTo>
                    <a:pt x="18977" y="12790"/>
                  </a:lnTo>
                  <a:lnTo>
                    <a:pt x="26028" y="19675"/>
                  </a:lnTo>
                  <a:lnTo>
                    <a:pt x="34044" y="27838"/>
                  </a:lnTo>
                  <a:lnTo>
                    <a:pt x="34920" y="39269"/>
                  </a:lnTo>
                  <a:lnTo>
                    <a:pt x="39570" y="44064"/>
                  </a:lnTo>
                  <a:lnTo>
                    <a:pt x="38519" y="97408"/>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57" name="Freeform 155">
              <a:extLst>
                <a:ext uri="{FF2B5EF4-FFF2-40B4-BE49-F238E27FC236}">
                  <a16:creationId xmlns:a16="http://schemas.microsoft.com/office/drawing/2014/main" id="{F60CD076-C1C9-FF4E-9A2E-BB42A195B0A6}"/>
                </a:ext>
              </a:extLst>
            </p:cNvPr>
            <p:cNvSpPr>
              <a:spLocks noChangeAspect="1"/>
            </p:cNvSpPr>
            <p:nvPr>
              <p:custDataLst>
                <p:tags r:id="rId161"/>
              </p:custDataLst>
            </p:nvPr>
          </p:nvSpPr>
          <p:spPr>
            <a:xfrm>
              <a:off x="6608383" y="4050155"/>
              <a:ext cx="189582" cy="346306"/>
            </a:xfrm>
            <a:custGeom>
              <a:avLst/>
              <a:gdLst/>
              <a:ahLst/>
              <a:cxnLst/>
              <a:rect l="0" t="0" r="0" b="0"/>
              <a:pathLst>
                <a:path w="189582" h="346306">
                  <a:moveTo>
                    <a:pt x="120238" y="195149"/>
                  </a:moveTo>
                  <a:lnTo>
                    <a:pt x="99515" y="184389"/>
                  </a:lnTo>
                  <a:lnTo>
                    <a:pt x="79772" y="184827"/>
                  </a:lnTo>
                  <a:lnTo>
                    <a:pt x="83157" y="166388"/>
                  </a:lnTo>
                  <a:lnTo>
                    <a:pt x="62828" y="166526"/>
                  </a:lnTo>
                  <a:lnTo>
                    <a:pt x="61004" y="192329"/>
                  </a:lnTo>
                  <a:lnTo>
                    <a:pt x="48543" y="226490"/>
                  </a:lnTo>
                  <a:lnTo>
                    <a:pt x="41037" y="247096"/>
                  </a:lnTo>
                  <a:lnTo>
                    <a:pt x="42622" y="263955"/>
                  </a:lnTo>
                  <a:lnTo>
                    <a:pt x="57659" y="264686"/>
                  </a:lnTo>
                  <a:lnTo>
                    <a:pt x="67026" y="285912"/>
                  </a:lnTo>
                  <a:lnTo>
                    <a:pt x="71172" y="306013"/>
                  </a:lnTo>
                  <a:lnTo>
                    <a:pt x="84053" y="319298"/>
                  </a:lnTo>
                  <a:lnTo>
                    <a:pt x="98036" y="321994"/>
                  </a:lnTo>
                  <a:lnTo>
                    <a:pt x="109995" y="334023"/>
                  </a:lnTo>
                  <a:lnTo>
                    <a:pt x="102449" y="343539"/>
                  </a:lnTo>
                  <a:lnTo>
                    <a:pt x="87214" y="346305"/>
                  </a:lnTo>
                  <a:lnTo>
                    <a:pt x="85397" y="334411"/>
                  </a:lnTo>
                  <a:lnTo>
                    <a:pt x="66563" y="324261"/>
                  </a:lnTo>
                  <a:lnTo>
                    <a:pt x="62550" y="328395"/>
                  </a:lnTo>
                  <a:lnTo>
                    <a:pt x="53431" y="319499"/>
                  </a:lnTo>
                  <a:lnTo>
                    <a:pt x="49483" y="308011"/>
                  </a:lnTo>
                  <a:lnTo>
                    <a:pt x="37218" y="294906"/>
                  </a:lnTo>
                  <a:lnTo>
                    <a:pt x="26035" y="283886"/>
                  </a:lnTo>
                  <a:lnTo>
                    <a:pt x="22246" y="297541"/>
                  </a:lnTo>
                  <a:lnTo>
                    <a:pt x="17868" y="284637"/>
                  </a:lnTo>
                  <a:lnTo>
                    <a:pt x="20388" y="270129"/>
                  </a:lnTo>
                  <a:lnTo>
                    <a:pt x="27183" y="247798"/>
                  </a:lnTo>
                  <a:lnTo>
                    <a:pt x="38369" y="223824"/>
                  </a:lnTo>
                  <a:lnTo>
                    <a:pt x="51045" y="202028"/>
                  </a:lnTo>
                  <a:lnTo>
                    <a:pt x="42020" y="180660"/>
                  </a:lnTo>
                  <a:lnTo>
                    <a:pt x="42382" y="169757"/>
                  </a:lnTo>
                  <a:lnTo>
                    <a:pt x="39745" y="156638"/>
                  </a:lnTo>
                  <a:lnTo>
                    <a:pt x="24350" y="137930"/>
                  </a:lnTo>
                  <a:lnTo>
                    <a:pt x="18840" y="126096"/>
                  </a:lnTo>
                  <a:lnTo>
                    <a:pt x="26810" y="121733"/>
                  </a:lnTo>
                  <a:lnTo>
                    <a:pt x="35257" y="101171"/>
                  </a:lnTo>
                  <a:lnTo>
                    <a:pt x="25803" y="85523"/>
                  </a:lnTo>
                  <a:lnTo>
                    <a:pt x="11154" y="68172"/>
                  </a:lnTo>
                  <a:lnTo>
                    <a:pt x="0" y="47259"/>
                  </a:lnTo>
                  <a:lnTo>
                    <a:pt x="9738" y="42922"/>
                  </a:lnTo>
                  <a:lnTo>
                    <a:pt x="20262" y="17045"/>
                  </a:lnTo>
                  <a:lnTo>
                    <a:pt x="36558" y="15971"/>
                  </a:lnTo>
                  <a:lnTo>
                    <a:pt x="50029" y="5560"/>
                  </a:lnTo>
                  <a:lnTo>
                    <a:pt x="63249" y="0"/>
                  </a:lnTo>
                  <a:lnTo>
                    <a:pt x="73241" y="7419"/>
                  </a:lnTo>
                  <a:lnTo>
                    <a:pt x="74566" y="21837"/>
                  </a:lnTo>
                  <a:lnTo>
                    <a:pt x="90163" y="22933"/>
                  </a:lnTo>
                  <a:lnTo>
                    <a:pt x="84483" y="48131"/>
                  </a:lnTo>
                  <a:lnTo>
                    <a:pt x="85029" y="69491"/>
                  </a:lnTo>
                  <a:lnTo>
                    <a:pt x="109359" y="55282"/>
                  </a:lnTo>
                  <a:lnTo>
                    <a:pt x="116269" y="59485"/>
                  </a:lnTo>
                  <a:lnTo>
                    <a:pt x="129789" y="58796"/>
                  </a:lnTo>
                  <a:lnTo>
                    <a:pt x="134440" y="50500"/>
                  </a:lnTo>
                  <a:lnTo>
                    <a:pt x="151897" y="52138"/>
                  </a:lnTo>
                  <a:lnTo>
                    <a:pt x="169451" y="71480"/>
                  </a:lnTo>
                  <a:lnTo>
                    <a:pt x="170891" y="94915"/>
                  </a:lnTo>
                  <a:lnTo>
                    <a:pt x="189581" y="115546"/>
                  </a:lnTo>
                  <a:lnTo>
                    <a:pt x="188549" y="135528"/>
                  </a:lnTo>
                  <a:lnTo>
                    <a:pt x="181034" y="146149"/>
                  </a:lnTo>
                  <a:lnTo>
                    <a:pt x="159398" y="142768"/>
                  </a:lnTo>
                  <a:lnTo>
                    <a:pt x="129551" y="147267"/>
                  </a:lnTo>
                  <a:lnTo>
                    <a:pt x="114772" y="166822"/>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58" name="Freeform 156">
              <a:extLst>
                <a:ext uri="{FF2B5EF4-FFF2-40B4-BE49-F238E27FC236}">
                  <a16:creationId xmlns:a16="http://schemas.microsoft.com/office/drawing/2014/main" id="{658407D0-C50C-D247-9885-147C558B0B5D}"/>
                </a:ext>
              </a:extLst>
            </p:cNvPr>
            <p:cNvSpPr>
              <a:spLocks noChangeAspect="1"/>
            </p:cNvSpPr>
            <p:nvPr>
              <p:custDataLst>
                <p:tags r:id="rId162"/>
              </p:custDataLst>
            </p:nvPr>
          </p:nvSpPr>
          <p:spPr>
            <a:xfrm>
              <a:off x="5917433" y="3526296"/>
              <a:ext cx="173993" cy="113820"/>
            </a:xfrm>
            <a:custGeom>
              <a:avLst/>
              <a:gdLst/>
              <a:ahLst/>
              <a:cxnLst/>
              <a:rect l="0" t="0" r="0" b="0"/>
              <a:pathLst>
                <a:path w="173993" h="113820">
                  <a:moveTo>
                    <a:pt x="82451" y="19589"/>
                  </a:moveTo>
                  <a:lnTo>
                    <a:pt x="73999" y="27995"/>
                  </a:lnTo>
                  <a:lnTo>
                    <a:pt x="48875" y="23437"/>
                  </a:lnTo>
                  <a:lnTo>
                    <a:pt x="46689" y="39103"/>
                  </a:lnTo>
                  <a:lnTo>
                    <a:pt x="71717" y="37002"/>
                  </a:lnTo>
                  <a:lnTo>
                    <a:pt x="100236" y="45798"/>
                  </a:lnTo>
                  <a:lnTo>
                    <a:pt x="143878" y="41690"/>
                  </a:lnTo>
                  <a:lnTo>
                    <a:pt x="149729" y="66657"/>
                  </a:lnTo>
                  <a:lnTo>
                    <a:pt x="157316" y="63950"/>
                  </a:lnTo>
                  <a:lnTo>
                    <a:pt x="171334" y="70067"/>
                  </a:lnTo>
                  <a:lnTo>
                    <a:pt x="170530" y="80489"/>
                  </a:lnTo>
                  <a:lnTo>
                    <a:pt x="173992" y="95707"/>
                  </a:lnTo>
                  <a:lnTo>
                    <a:pt x="150187" y="95665"/>
                  </a:lnTo>
                  <a:lnTo>
                    <a:pt x="134291" y="93702"/>
                  </a:lnTo>
                  <a:lnTo>
                    <a:pt x="119907" y="105613"/>
                  </a:lnTo>
                  <a:lnTo>
                    <a:pt x="109662" y="108248"/>
                  </a:lnTo>
                  <a:lnTo>
                    <a:pt x="101620" y="113819"/>
                  </a:lnTo>
                  <a:lnTo>
                    <a:pt x="92480" y="105132"/>
                  </a:lnTo>
                  <a:lnTo>
                    <a:pt x="94632" y="82742"/>
                  </a:lnTo>
                  <a:lnTo>
                    <a:pt x="87650" y="81472"/>
                  </a:lnTo>
                  <a:lnTo>
                    <a:pt x="90159" y="73285"/>
                  </a:lnTo>
                  <a:lnTo>
                    <a:pt x="77664" y="67182"/>
                  </a:lnTo>
                  <a:lnTo>
                    <a:pt x="67727" y="76516"/>
                  </a:lnTo>
                  <a:lnTo>
                    <a:pt x="65286" y="87302"/>
                  </a:lnTo>
                  <a:lnTo>
                    <a:pt x="61732" y="91223"/>
                  </a:lnTo>
                  <a:lnTo>
                    <a:pt x="47933" y="90669"/>
                  </a:lnTo>
                  <a:lnTo>
                    <a:pt x="40489" y="102861"/>
                  </a:lnTo>
                  <a:lnTo>
                    <a:pt x="32714" y="97722"/>
                  </a:lnTo>
                  <a:lnTo>
                    <a:pt x="16004" y="106262"/>
                  </a:lnTo>
                  <a:lnTo>
                    <a:pt x="8951" y="103024"/>
                  </a:lnTo>
                  <a:lnTo>
                    <a:pt x="21925" y="76017"/>
                  </a:lnTo>
                  <a:lnTo>
                    <a:pt x="16938" y="56004"/>
                  </a:lnTo>
                  <a:lnTo>
                    <a:pt x="0" y="49564"/>
                  </a:lnTo>
                  <a:lnTo>
                    <a:pt x="5984" y="37645"/>
                  </a:lnTo>
                  <a:lnTo>
                    <a:pt x="25257" y="38920"/>
                  </a:lnTo>
                  <a:lnTo>
                    <a:pt x="36227" y="23901"/>
                  </a:lnTo>
                  <a:lnTo>
                    <a:pt x="43564" y="6373"/>
                  </a:lnTo>
                  <a:lnTo>
                    <a:pt x="74428" y="0"/>
                  </a:lnTo>
                  <a:lnTo>
                    <a:pt x="69616" y="12704"/>
                  </a:lnTo>
                  <a:lnTo>
                    <a:pt x="72923" y="2029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59" name="Freeform 157">
              <a:extLst>
                <a:ext uri="{FF2B5EF4-FFF2-40B4-BE49-F238E27FC236}">
                  <a16:creationId xmlns:a16="http://schemas.microsoft.com/office/drawing/2014/main" id="{99EDBC2C-2FDF-B843-9FFA-582E579393F1}"/>
                </a:ext>
              </a:extLst>
            </p:cNvPr>
            <p:cNvSpPr>
              <a:spLocks noChangeAspect="1"/>
            </p:cNvSpPr>
            <p:nvPr>
              <p:custDataLst>
                <p:tags r:id="rId163"/>
              </p:custDataLst>
            </p:nvPr>
          </p:nvSpPr>
          <p:spPr>
            <a:xfrm>
              <a:off x="5572584" y="3476717"/>
              <a:ext cx="324167" cy="202057"/>
            </a:xfrm>
            <a:custGeom>
              <a:avLst/>
              <a:gdLst/>
              <a:ahLst/>
              <a:cxnLst/>
              <a:rect l="0" t="0" r="0" b="0"/>
              <a:pathLst>
                <a:path w="324167" h="202057">
                  <a:moveTo>
                    <a:pt x="201012" y="192103"/>
                  </a:moveTo>
                  <a:lnTo>
                    <a:pt x="198987" y="169924"/>
                  </a:lnTo>
                  <a:lnTo>
                    <a:pt x="181780" y="168978"/>
                  </a:lnTo>
                  <a:lnTo>
                    <a:pt x="155399" y="145473"/>
                  </a:lnTo>
                  <a:lnTo>
                    <a:pt x="136965" y="142560"/>
                  </a:lnTo>
                  <a:lnTo>
                    <a:pt x="111442" y="129018"/>
                  </a:lnTo>
                  <a:lnTo>
                    <a:pt x="95029" y="126550"/>
                  </a:lnTo>
                  <a:lnTo>
                    <a:pt x="84896" y="131536"/>
                  </a:lnTo>
                  <a:lnTo>
                    <a:pt x="69458" y="130761"/>
                  </a:lnTo>
                  <a:lnTo>
                    <a:pt x="53040" y="146020"/>
                  </a:lnTo>
                  <a:lnTo>
                    <a:pt x="32757" y="151170"/>
                  </a:lnTo>
                  <a:lnTo>
                    <a:pt x="28462" y="132312"/>
                  </a:lnTo>
                  <a:lnTo>
                    <a:pt x="31818" y="104220"/>
                  </a:lnTo>
                  <a:lnTo>
                    <a:pt x="13816" y="95076"/>
                  </a:lnTo>
                  <a:lnTo>
                    <a:pt x="19743" y="76499"/>
                  </a:lnTo>
                  <a:lnTo>
                    <a:pt x="4421" y="74910"/>
                  </a:lnTo>
                  <a:lnTo>
                    <a:pt x="9528" y="51876"/>
                  </a:lnTo>
                  <a:lnTo>
                    <a:pt x="31293" y="58602"/>
                  </a:lnTo>
                  <a:lnTo>
                    <a:pt x="51575" y="49832"/>
                  </a:lnTo>
                  <a:lnTo>
                    <a:pt x="34759" y="33313"/>
                  </a:lnTo>
                  <a:lnTo>
                    <a:pt x="28144" y="17485"/>
                  </a:lnTo>
                  <a:lnTo>
                    <a:pt x="9562" y="24554"/>
                  </a:lnTo>
                  <a:lnTo>
                    <a:pt x="7207" y="44767"/>
                  </a:lnTo>
                  <a:lnTo>
                    <a:pt x="0" y="26900"/>
                  </a:lnTo>
                  <a:lnTo>
                    <a:pt x="10198" y="17684"/>
                  </a:lnTo>
                  <a:lnTo>
                    <a:pt x="36400" y="11905"/>
                  </a:lnTo>
                  <a:lnTo>
                    <a:pt x="52003" y="19682"/>
                  </a:lnTo>
                  <a:lnTo>
                    <a:pt x="68158" y="41343"/>
                  </a:lnTo>
                  <a:lnTo>
                    <a:pt x="79998" y="40000"/>
                  </a:lnTo>
                  <a:lnTo>
                    <a:pt x="106040" y="39623"/>
                  </a:lnTo>
                  <a:lnTo>
                    <a:pt x="102250" y="25718"/>
                  </a:lnTo>
                  <a:lnTo>
                    <a:pt x="121970" y="16171"/>
                  </a:lnTo>
                  <a:lnTo>
                    <a:pt x="141417" y="0"/>
                  </a:lnTo>
                  <a:lnTo>
                    <a:pt x="172519" y="14712"/>
                  </a:lnTo>
                  <a:lnTo>
                    <a:pt x="174986" y="36790"/>
                  </a:lnTo>
                  <a:lnTo>
                    <a:pt x="183819" y="42431"/>
                  </a:lnTo>
                  <a:lnTo>
                    <a:pt x="208776" y="41164"/>
                  </a:lnTo>
                  <a:lnTo>
                    <a:pt x="216521" y="46156"/>
                  </a:lnTo>
                  <a:lnTo>
                    <a:pt x="227867" y="74359"/>
                  </a:lnTo>
                  <a:lnTo>
                    <a:pt x="254268" y="93110"/>
                  </a:lnTo>
                  <a:lnTo>
                    <a:pt x="269323" y="105829"/>
                  </a:lnTo>
                  <a:lnTo>
                    <a:pt x="293462" y="119006"/>
                  </a:lnTo>
                  <a:lnTo>
                    <a:pt x="324166" y="130478"/>
                  </a:lnTo>
                  <a:lnTo>
                    <a:pt x="323530" y="146810"/>
                  </a:lnTo>
                  <a:lnTo>
                    <a:pt x="316577" y="145984"/>
                  </a:lnTo>
                  <a:lnTo>
                    <a:pt x="305687" y="138856"/>
                  </a:lnTo>
                  <a:lnTo>
                    <a:pt x="302071" y="148342"/>
                  </a:lnTo>
                  <a:lnTo>
                    <a:pt x="282616" y="153485"/>
                  </a:lnTo>
                  <a:lnTo>
                    <a:pt x="278008" y="174668"/>
                  </a:lnTo>
                  <a:lnTo>
                    <a:pt x="264999" y="182688"/>
                  </a:lnTo>
                  <a:lnTo>
                    <a:pt x="246779" y="186658"/>
                  </a:lnTo>
                  <a:lnTo>
                    <a:pt x="241957" y="198561"/>
                  </a:lnTo>
                  <a:lnTo>
                    <a:pt x="224552" y="20205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60" name="Freeform 158">
              <a:extLst>
                <a:ext uri="{FF2B5EF4-FFF2-40B4-BE49-F238E27FC236}">
                  <a16:creationId xmlns:a16="http://schemas.microsoft.com/office/drawing/2014/main" id="{82E91860-6C4C-AA47-84EC-8ADCABEFDA56}"/>
                </a:ext>
              </a:extLst>
            </p:cNvPr>
            <p:cNvSpPr>
              <a:spLocks noChangeAspect="1"/>
            </p:cNvSpPr>
            <p:nvPr>
              <p:custDataLst>
                <p:tags r:id="rId164"/>
              </p:custDataLst>
            </p:nvPr>
          </p:nvSpPr>
          <p:spPr>
            <a:xfrm>
              <a:off x="7245298" y="4719368"/>
              <a:ext cx="54643" cy="26048"/>
            </a:xfrm>
            <a:custGeom>
              <a:avLst/>
              <a:gdLst/>
              <a:ahLst/>
              <a:cxnLst/>
              <a:rect l="0" t="0" r="0" b="0"/>
              <a:pathLst>
                <a:path w="54643" h="26048">
                  <a:moveTo>
                    <a:pt x="0" y="14402"/>
                  </a:moveTo>
                  <a:lnTo>
                    <a:pt x="2714" y="8915"/>
                  </a:lnTo>
                  <a:lnTo>
                    <a:pt x="22584" y="3689"/>
                  </a:lnTo>
                  <a:lnTo>
                    <a:pt x="38688" y="2902"/>
                  </a:lnTo>
                  <a:lnTo>
                    <a:pt x="45901" y="0"/>
                  </a:lnTo>
                  <a:lnTo>
                    <a:pt x="54642" y="2881"/>
                  </a:lnTo>
                  <a:lnTo>
                    <a:pt x="46150" y="9179"/>
                  </a:lnTo>
                  <a:lnTo>
                    <a:pt x="22095" y="19362"/>
                  </a:lnTo>
                  <a:lnTo>
                    <a:pt x="2767" y="26047"/>
                  </a:lnTo>
                  <a:lnTo>
                    <a:pt x="2339" y="18989"/>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61" name="Freeform 159">
              <a:extLst>
                <a:ext uri="{FF2B5EF4-FFF2-40B4-BE49-F238E27FC236}">
                  <a16:creationId xmlns:a16="http://schemas.microsoft.com/office/drawing/2014/main" id="{C42EC743-84A1-9946-9B25-44EE56346ED7}"/>
                </a:ext>
              </a:extLst>
            </p:cNvPr>
            <p:cNvSpPr>
              <a:spLocks noChangeAspect="1"/>
            </p:cNvSpPr>
            <p:nvPr>
              <p:custDataLst>
                <p:tags r:id="rId165"/>
              </p:custDataLst>
            </p:nvPr>
          </p:nvSpPr>
          <p:spPr>
            <a:xfrm>
              <a:off x="4534372" y="3623867"/>
              <a:ext cx="91507" cy="182659"/>
            </a:xfrm>
            <a:custGeom>
              <a:avLst/>
              <a:gdLst/>
              <a:ahLst/>
              <a:cxnLst/>
              <a:rect l="0" t="0" r="0" b="0"/>
              <a:pathLst>
                <a:path w="91507" h="182659">
                  <a:moveTo>
                    <a:pt x="45188" y="182658"/>
                  </a:moveTo>
                  <a:lnTo>
                    <a:pt x="35342" y="136950"/>
                  </a:lnTo>
                  <a:lnTo>
                    <a:pt x="21112" y="126598"/>
                  </a:lnTo>
                  <a:lnTo>
                    <a:pt x="20912" y="120377"/>
                  </a:lnTo>
                  <a:lnTo>
                    <a:pt x="2034" y="105018"/>
                  </a:lnTo>
                  <a:lnTo>
                    <a:pt x="0" y="85508"/>
                  </a:lnTo>
                  <a:lnTo>
                    <a:pt x="14230" y="70993"/>
                  </a:lnTo>
                  <a:lnTo>
                    <a:pt x="19664" y="49421"/>
                  </a:lnTo>
                  <a:lnTo>
                    <a:pt x="16004" y="24318"/>
                  </a:lnTo>
                  <a:lnTo>
                    <a:pt x="20693" y="10727"/>
                  </a:lnTo>
                  <a:lnTo>
                    <a:pt x="45831" y="0"/>
                  </a:lnTo>
                  <a:lnTo>
                    <a:pt x="61989" y="3193"/>
                  </a:lnTo>
                  <a:lnTo>
                    <a:pt x="61311" y="16623"/>
                  </a:lnTo>
                  <a:lnTo>
                    <a:pt x="80890" y="6859"/>
                  </a:lnTo>
                  <a:lnTo>
                    <a:pt x="82533" y="11958"/>
                  </a:lnTo>
                  <a:lnTo>
                    <a:pt x="70991" y="24931"/>
                  </a:lnTo>
                  <a:lnTo>
                    <a:pt x="70836" y="37132"/>
                  </a:lnTo>
                  <a:lnTo>
                    <a:pt x="78828" y="43668"/>
                  </a:lnTo>
                  <a:lnTo>
                    <a:pt x="75788" y="66339"/>
                  </a:lnTo>
                  <a:lnTo>
                    <a:pt x="60594" y="79441"/>
                  </a:lnTo>
                  <a:lnTo>
                    <a:pt x="64981" y="93593"/>
                  </a:lnTo>
                  <a:lnTo>
                    <a:pt x="76919" y="94033"/>
                  </a:lnTo>
                  <a:lnTo>
                    <a:pt x="82728" y="106330"/>
                  </a:lnTo>
                  <a:lnTo>
                    <a:pt x="91506" y="110365"/>
                  </a:lnTo>
                  <a:lnTo>
                    <a:pt x="90202" y="130125"/>
                  </a:lnTo>
                  <a:lnTo>
                    <a:pt x="78950" y="137484"/>
                  </a:lnTo>
                  <a:lnTo>
                    <a:pt x="71843" y="145681"/>
                  </a:lnTo>
                  <a:lnTo>
                    <a:pt x="55992" y="155515"/>
                  </a:lnTo>
                  <a:lnTo>
                    <a:pt x="58447" y="166060"/>
                  </a:lnTo>
                  <a:lnTo>
                    <a:pt x="56449" y="17678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62" name="Freeform 160">
              <a:extLst>
                <a:ext uri="{FF2B5EF4-FFF2-40B4-BE49-F238E27FC236}">
                  <a16:creationId xmlns:a16="http://schemas.microsoft.com/office/drawing/2014/main" id="{DD07616A-5B86-7149-B736-AD6FE4669440}"/>
                </a:ext>
              </a:extLst>
            </p:cNvPr>
            <p:cNvSpPr>
              <a:spLocks noChangeAspect="1"/>
            </p:cNvSpPr>
            <p:nvPr>
              <p:custDataLst>
                <p:tags r:id="rId166"/>
              </p:custDataLst>
            </p:nvPr>
          </p:nvSpPr>
          <p:spPr>
            <a:xfrm>
              <a:off x="4961837" y="3493694"/>
              <a:ext cx="432815" cy="170618"/>
            </a:xfrm>
            <a:custGeom>
              <a:avLst/>
              <a:gdLst/>
              <a:ahLst/>
              <a:cxnLst/>
              <a:rect l="l" t="t" r="r" b="b"/>
              <a:pathLst>
                <a:path w="432815" h="170618">
                  <a:moveTo>
                    <a:pt x="210614" y="2808"/>
                  </a:moveTo>
                  <a:lnTo>
                    <a:pt x="250903" y="22286"/>
                  </a:lnTo>
                  <a:lnTo>
                    <a:pt x="284016" y="32921"/>
                  </a:lnTo>
                  <a:lnTo>
                    <a:pt x="310906" y="28686"/>
                  </a:lnTo>
                  <a:lnTo>
                    <a:pt x="330776" y="31134"/>
                  </a:lnTo>
                  <a:lnTo>
                    <a:pt x="358029" y="16764"/>
                  </a:lnTo>
                  <a:lnTo>
                    <a:pt x="382623" y="15452"/>
                  </a:lnTo>
                  <a:lnTo>
                    <a:pt x="404856" y="28978"/>
                  </a:lnTo>
                  <a:lnTo>
                    <a:pt x="408778" y="38635"/>
                  </a:lnTo>
                  <a:lnTo>
                    <a:pt x="406557" y="51939"/>
                  </a:lnTo>
                  <a:lnTo>
                    <a:pt x="423721" y="58712"/>
                  </a:lnTo>
                  <a:lnTo>
                    <a:pt x="432815" y="66650"/>
                  </a:lnTo>
                  <a:lnTo>
                    <a:pt x="417008" y="74375"/>
                  </a:lnTo>
                  <a:lnTo>
                    <a:pt x="424214" y="105286"/>
                  </a:lnTo>
                  <a:lnTo>
                    <a:pt x="419698" y="113583"/>
                  </a:lnTo>
                  <a:lnTo>
                    <a:pt x="432323" y="134949"/>
                  </a:lnTo>
                  <a:lnTo>
                    <a:pt x="421261" y="139436"/>
                  </a:lnTo>
                  <a:lnTo>
                    <a:pt x="413154" y="132667"/>
                  </a:lnTo>
                  <a:lnTo>
                    <a:pt x="386306" y="129233"/>
                  </a:lnTo>
                  <a:lnTo>
                    <a:pt x="376391" y="133368"/>
                  </a:lnTo>
                  <a:lnTo>
                    <a:pt x="350135" y="137502"/>
                  </a:lnTo>
                  <a:lnTo>
                    <a:pt x="337697" y="137052"/>
                  </a:lnTo>
                  <a:lnTo>
                    <a:pt x="311136" y="147006"/>
                  </a:lnTo>
                  <a:lnTo>
                    <a:pt x="292147" y="147089"/>
                  </a:lnTo>
                  <a:lnTo>
                    <a:pt x="279863" y="142098"/>
                  </a:lnTo>
                  <a:lnTo>
                    <a:pt x="254450" y="149469"/>
                  </a:lnTo>
                  <a:lnTo>
                    <a:pt x="246895" y="144317"/>
                  </a:lnTo>
                  <a:lnTo>
                    <a:pt x="245646" y="159072"/>
                  </a:lnTo>
                  <a:lnTo>
                    <a:pt x="239464" y="164850"/>
                  </a:lnTo>
                  <a:lnTo>
                    <a:pt x="233283" y="170618"/>
                  </a:lnTo>
                  <a:lnTo>
                    <a:pt x="224796" y="158668"/>
                  </a:lnTo>
                  <a:lnTo>
                    <a:pt x="233538" y="148739"/>
                  </a:lnTo>
                  <a:lnTo>
                    <a:pt x="219460" y="150993"/>
                  </a:lnTo>
                  <a:lnTo>
                    <a:pt x="200154" y="144900"/>
                  </a:lnTo>
                  <a:lnTo>
                    <a:pt x="184281" y="160121"/>
                  </a:lnTo>
                  <a:lnTo>
                    <a:pt x="149248" y="163085"/>
                  </a:lnTo>
                  <a:lnTo>
                    <a:pt x="130561" y="148907"/>
                  </a:lnTo>
                  <a:lnTo>
                    <a:pt x="105678" y="148018"/>
                  </a:lnTo>
                  <a:lnTo>
                    <a:pt x="100357" y="158986"/>
                  </a:lnTo>
                  <a:lnTo>
                    <a:pt x="84404" y="162115"/>
                  </a:lnTo>
                  <a:lnTo>
                    <a:pt x="62082" y="148045"/>
                  </a:lnTo>
                  <a:lnTo>
                    <a:pt x="36882" y="148522"/>
                  </a:lnTo>
                  <a:lnTo>
                    <a:pt x="23208" y="122086"/>
                  </a:lnTo>
                  <a:lnTo>
                    <a:pt x="6344" y="107248"/>
                  </a:lnTo>
                  <a:lnTo>
                    <a:pt x="17574" y="86334"/>
                  </a:lnTo>
                  <a:lnTo>
                    <a:pt x="2941" y="73414"/>
                  </a:lnTo>
                  <a:lnTo>
                    <a:pt x="28545" y="47395"/>
                  </a:lnTo>
                  <a:lnTo>
                    <a:pt x="64091" y="46302"/>
                  </a:lnTo>
                  <a:lnTo>
                    <a:pt x="73787" y="25462"/>
                  </a:lnTo>
                  <a:lnTo>
                    <a:pt x="117781" y="29102"/>
                  </a:lnTo>
                  <a:lnTo>
                    <a:pt x="145528" y="11223"/>
                  </a:lnTo>
                  <a:lnTo>
                    <a:pt x="172426" y="3398"/>
                  </a:lnTo>
                  <a:close/>
                  <a:moveTo>
                    <a:pt x="25215" y="0"/>
                  </a:moveTo>
                  <a:lnTo>
                    <a:pt x="45089" y="3719"/>
                  </a:lnTo>
                  <a:lnTo>
                    <a:pt x="47831" y="14356"/>
                  </a:lnTo>
                  <a:lnTo>
                    <a:pt x="67980" y="23262"/>
                  </a:lnTo>
                  <a:lnTo>
                    <a:pt x="63779" y="29999"/>
                  </a:lnTo>
                  <a:lnTo>
                    <a:pt x="36370" y="31514"/>
                  </a:lnTo>
                  <a:lnTo>
                    <a:pt x="26522" y="39995"/>
                  </a:lnTo>
                  <a:lnTo>
                    <a:pt x="7263" y="54708"/>
                  </a:lnTo>
                  <a:lnTo>
                    <a:pt x="0" y="41988"/>
                  </a:lnTo>
                  <a:lnTo>
                    <a:pt x="313" y="36335"/>
                  </a:lnTo>
                  <a:lnTo>
                    <a:pt x="5799" y="33259"/>
                  </a:lnTo>
                  <a:lnTo>
                    <a:pt x="12945" y="16034"/>
                  </a:lnTo>
                  <a:lnTo>
                    <a:pt x="1701" y="871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63" name="Freeform 161">
              <a:extLst>
                <a:ext uri="{FF2B5EF4-FFF2-40B4-BE49-F238E27FC236}">
                  <a16:creationId xmlns:a16="http://schemas.microsoft.com/office/drawing/2014/main" id="{2A2B5039-036A-3D40-AE66-08DA3F8B56A0}"/>
                </a:ext>
              </a:extLst>
            </p:cNvPr>
            <p:cNvSpPr>
              <a:spLocks noChangeAspect="1"/>
            </p:cNvSpPr>
            <p:nvPr>
              <p:custDataLst>
                <p:tags r:id="rId167"/>
              </p:custDataLst>
            </p:nvPr>
          </p:nvSpPr>
          <p:spPr>
            <a:xfrm>
              <a:off x="7133058" y="3931551"/>
              <a:ext cx="42590" cy="81135"/>
            </a:xfrm>
            <a:custGeom>
              <a:avLst/>
              <a:gdLst/>
              <a:ahLst/>
              <a:cxnLst/>
              <a:rect l="0" t="0" r="0" b="0"/>
              <a:pathLst>
                <a:path w="42590" h="81135">
                  <a:moveTo>
                    <a:pt x="38586" y="22120"/>
                  </a:moveTo>
                  <a:lnTo>
                    <a:pt x="24686" y="61235"/>
                  </a:lnTo>
                  <a:lnTo>
                    <a:pt x="14794" y="81134"/>
                  </a:lnTo>
                  <a:lnTo>
                    <a:pt x="2630" y="60652"/>
                  </a:lnTo>
                  <a:lnTo>
                    <a:pt x="0" y="42601"/>
                  </a:lnTo>
                  <a:lnTo>
                    <a:pt x="13585" y="18588"/>
                  </a:lnTo>
                  <a:lnTo>
                    <a:pt x="32059" y="0"/>
                  </a:lnTo>
                  <a:lnTo>
                    <a:pt x="42589" y="732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64" name="Freeform 162">
              <a:extLst>
                <a:ext uri="{FF2B5EF4-FFF2-40B4-BE49-F238E27FC236}">
                  <a16:creationId xmlns:a16="http://schemas.microsoft.com/office/drawing/2014/main" id="{C4AF8150-DCE3-664A-9248-0ED13535E4E8}"/>
                </a:ext>
              </a:extLst>
            </p:cNvPr>
            <p:cNvSpPr>
              <a:spLocks noChangeAspect="1"/>
            </p:cNvSpPr>
            <p:nvPr>
              <p:custDataLst>
                <p:tags r:id="rId168"/>
              </p:custDataLst>
            </p:nvPr>
          </p:nvSpPr>
          <p:spPr>
            <a:xfrm>
              <a:off x="5037932" y="4549900"/>
              <a:ext cx="253370" cy="249838"/>
            </a:xfrm>
            <a:custGeom>
              <a:avLst/>
              <a:gdLst/>
              <a:ahLst/>
              <a:cxnLst/>
              <a:rect l="0" t="0" r="0" b="0"/>
              <a:pathLst>
                <a:path w="253370" h="249838">
                  <a:moveTo>
                    <a:pt x="105343" y="0"/>
                  </a:moveTo>
                  <a:lnTo>
                    <a:pt x="109242" y="2535"/>
                  </a:lnTo>
                  <a:lnTo>
                    <a:pt x="192941" y="49580"/>
                  </a:lnTo>
                  <a:lnTo>
                    <a:pt x="194516" y="62985"/>
                  </a:lnTo>
                  <a:lnTo>
                    <a:pt x="227647" y="86100"/>
                  </a:lnTo>
                  <a:lnTo>
                    <a:pt x="216990" y="114620"/>
                  </a:lnTo>
                  <a:lnTo>
                    <a:pt x="218357" y="127750"/>
                  </a:lnTo>
                  <a:lnTo>
                    <a:pt x="233135" y="136197"/>
                  </a:lnTo>
                  <a:lnTo>
                    <a:pt x="233828" y="142227"/>
                  </a:lnTo>
                  <a:lnTo>
                    <a:pt x="227473" y="156241"/>
                  </a:lnTo>
                  <a:lnTo>
                    <a:pt x="228796" y="163299"/>
                  </a:lnTo>
                  <a:lnTo>
                    <a:pt x="227284" y="174399"/>
                  </a:lnTo>
                  <a:lnTo>
                    <a:pt x="235345" y="188978"/>
                  </a:lnTo>
                  <a:lnTo>
                    <a:pt x="244898" y="211945"/>
                  </a:lnTo>
                  <a:lnTo>
                    <a:pt x="253369" y="217045"/>
                  </a:lnTo>
                  <a:lnTo>
                    <a:pt x="235005" y="230576"/>
                  </a:lnTo>
                  <a:lnTo>
                    <a:pt x="209765" y="239648"/>
                  </a:lnTo>
                  <a:lnTo>
                    <a:pt x="195918" y="239264"/>
                  </a:lnTo>
                  <a:lnTo>
                    <a:pt x="187692" y="246277"/>
                  </a:lnTo>
                  <a:lnTo>
                    <a:pt x="171623" y="246880"/>
                  </a:lnTo>
                  <a:lnTo>
                    <a:pt x="165597" y="249837"/>
                  </a:lnTo>
                  <a:lnTo>
                    <a:pt x="137859" y="243247"/>
                  </a:lnTo>
                  <a:lnTo>
                    <a:pt x="120492" y="245138"/>
                  </a:lnTo>
                  <a:lnTo>
                    <a:pt x="114029" y="213381"/>
                  </a:lnTo>
                  <a:lnTo>
                    <a:pt x="106200" y="202513"/>
                  </a:lnTo>
                  <a:lnTo>
                    <a:pt x="101557" y="196073"/>
                  </a:lnTo>
                  <a:lnTo>
                    <a:pt x="78929" y="191730"/>
                  </a:lnTo>
                  <a:lnTo>
                    <a:pt x="65829" y="184744"/>
                  </a:lnTo>
                  <a:lnTo>
                    <a:pt x="51159" y="180829"/>
                  </a:lnTo>
                  <a:lnTo>
                    <a:pt x="41959" y="176934"/>
                  </a:lnTo>
                  <a:lnTo>
                    <a:pt x="32316" y="171016"/>
                  </a:lnTo>
                  <a:lnTo>
                    <a:pt x="19852" y="141763"/>
                  </a:lnTo>
                  <a:lnTo>
                    <a:pt x="6463" y="128778"/>
                  </a:lnTo>
                  <a:lnTo>
                    <a:pt x="1846" y="115339"/>
                  </a:lnTo>
                  <a:lnTo>
                    <a:pt x="4155" y="103298"/>
                  </a:lnTo>
                  <a:lnTo>
                    <a:pt x="0" y="82011"/>
                  </a:lnTo>
                  <a:lnTo>
                    <a:pt x="9545" y="80910"/>
                  </a:lnTo>
                  <a:lnTo>
                    <a:pt x="17920" y="72533"/>
                  </a:lnTo>
                  <a:lnTo>
                    <a:pt x="26904" y="60477"/>
                  </a:lnTo>
                  <a:lnTo>
                    <a:pt x="32598" y="55641"/>
                  </a:lnTo>
                  <a:lnTo>
                    <a:pt x="32385" y="48132"/>
                  </a:lnTo>
                  <a:lnTo>
                    <a:pt x="27415" y="42894"/>
                  </a:lnTo>
                  <a:lnTo>
                    <a:pt x="26076" y="33799"/>
                  </a:lnTo>
                  <a:lnTo>
                    <a:pt x="32739" y="30875"/>
                  </a:lnTo>
                  <a:lnTo>
                    <a:pt x="34074" y="17290"/>
                  </a:lnTo>
                  <a:lnTo>
                    <a:pt x="24909" y="4263"/>
                  </a:lnTo>
                  <a:lnTo>
                    <a:pt x="33005" y="1490"/>
                  </a:lnTo>
                  <a:lnTo>
                    <a:pt x="58311" y="178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65" name="Freeform 163">
              <a:extLst>
                <a:ext uri="{FF2B5EF4-FFF2-40B4-BE49-F238E27FC236}">
                  <a16:creationId xmlns:a16="http://schemas.microsoft.com/office/drawing/2014/main" id="{AD4AAB13-6A52-424C-8151-98C164A83A20}"/>
                </a:ext>
              </a:extLst>
            </p:cNvPr>
            <p:cNvSpPr>
              <a:spLocks noChangeAspect="1"/>
            </p:cNvSpPr>
            <p:nvPr>
              <p:custDataLst>
                <p:tags r:id="rId169"/>
              </p:custDataLst>
            </p:nvPr>
          </p:nvSpPr>
          <p:spPr>
            <a:xfrm>
              <a:off x="5043460" y="4429814"/>
              <a:ext cx="125952" cy="131476"/>
            </a:xfrm>
            <a:custGeom>
              <a:avLst/>
              <a:gdLst/>
              <a:ahLst/>
              <a:cxnLst/>
              <a:rect l="0" t="0" r="0" b="0"/>
              <a:pathLst>
                <a:path w="125952" h="131476">
                  <a:moveTo>
                    <a:pt x="52783" y="121872"/>
                  </a:moveTo>
                  <a:lnTo>
                    <a:pt x="27477" y="121576"/>
                  </a:lnTo>
                  <a:lnTo>
                    <a:pt x="19381" y="124349"/>
                  </a:lnTo>
                  <a:lnTo>
                    <a:pt x="5587" y="131475"/>
                  </a:lnTo>
                  <a:lnTo>
                    <a:pt x="0" y="129119"/>
                  </a:lnTo>
                  <a:lnTo>
                    <a:pt x="193" y="111716"/>
                  </a:lnTo>
                  <a:lnTo>
                    <a:pt x="5540" y="102895"/>
                  </a:lnTo>
                  <a:lnTo>
                    <a:pt x="6839" y="84367"/>
                  </a:lnTo>
                  <a:lnTo>
                    <a:pt x="11695" y="73635"/>
                  </a:lnTo>
                  <a:lnTo>
                    <a:pt x="20521" y="61595"/>
                  </a:lnTo>
                  <a:lnTo>
                    <a:pt x="29388" y="55463"/>
                  </a:lnTo>
                  <a:lnTo>
                    <a:pt x="36809" y="47263"/>
                  </a:lnTo>
                  <a:lnTo>
                    <a:pt x="27557" y="44136"/>
                  </a:lnTo>
                  <a:lnTo>
                    <a:pt x="28954" y="17123"/>
                  </a:lnTo>
                  <a:lnTo>
                    <a:pt x="38458" y="10820"/>
                  </a:lnTo>
                  <a:lnTo>
                    <a:pt x="53135" y="15988"/>
                  </a:lnTo>
                  <a:lnTo>
                    <a:pt x="71717" y="10579"/>
                  </a:lnTo>
                  <a:lnTo>
                    <a:pt x="87957" y="10632"/>
                  </a:lnTo>
                  <a:lnTo>
                    <a:pt x="102153" y="0"/>
                  </a:lnTo>
                  <a:lnTo>
                    <a:pt x="113097" y="16050"/>
                  </a:lnTo>
                  <a:lnTo>
                    <a:pt x="115796" y="27647"/>
                  </a:lnTo>
                  <a:lnTo>
                    <a:pt x="125951" y="54160"/>
                  </a:lnTo>
                  <a:lnTo>
                    <a:pt x="117551" y="70988"/>
                  </a:lnTo>
                  <a:lnTo>
                    <a:pt x="106192" y="86269"/>
                  </a:lnTo>
                  <a:lnTo>
                    <a:pt x="99581" y="95622"/>
                  </a:lnTo>
                  <a:lnTo>
                    <a:pt x="99815" y="120086"/>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66" name="Freeform 164">
              <a:extLst>
                <a:ext uri="{FF2B5EF4-FFF2-40B4-BE49-F238E27FC236}">
                  <a16:creationId xmlns:a16="http://schemas.microsoft.com/office/drawing/2014/main" id="{C2EC6FB9-2BE0-2D46-9FDF-FD40A4163102}"/>
                </a:ext>
              </a:extLst>
            </p:cNvPr>
            <p:cNvSpPr>
              <a:spLocks noChangeAspect="1"/>
            </p:cNvSpPr>
            <p:nvPr>
              <p:custDataLst>
                <p:tags r:id="rId170"/>
              </p:custDataLst>
            </p:nvPr>
          </p:nvSpPr>
          <p:spPr>
            <a:xfrm>
              <a:off x="4870481" y="3195393"/>
              <a:ext cx="415378" cy="236043"/>
            </a:xfrm>
            <a:custGeom>
              <a:avLst/>
              <a:gdLst/>
              <a:ahLst/>
              <a:cxnLst/>
              <a:rect l="0" t="0" r="0" b="0"/>
              <a:pathLst>
                <a:path w="415378" h="236043">
                  <a:moveTo>
                    <a:pt x="223911" y="7224"/>
                  </a:moveTo>
                  <a:lnTo>
                    <a:pt x="232531" y="8473"/>
                  </a:lnTo>
                  <a:lnTo>
                    <a:pt x="238363" y="1437"/>
                  </a:lnTo>
                  <a:lnTo>
                    <a:pt x="245373" y="2993"/>
                  </a:lnTo>
                  <a:lnTo>
                    <a:pt x="269308" y="0"/>
                  </a:lnTo>
                  <a:lnTo>
                    <a:pt x="284059" y="17488"/>
                  </a:lnTo>
                  <a:lnTo>
                    <a:pt x="278293" y="23713"/>
                  </a:lnTo>
                  <a:lnTo>
                    <a:pt x="280206" y="33225"/>
                  </a:lnTo>
                  <a:lnTo>
                    <a:pt x="298611" y="34706"/>
                  </a:lnTo>
                  <a:lnTo>
                    <a:pt x="306822" y="47927"/>
                  </a:lnTo>
                  <a:lnTo>
                    <a:pt x="306319" y="53903"/>
                  </a:lnTo>
                  <a:lnTo>
                    <a:pt x="335635" y="64548"/>
                  </a:lnTo>
                  <a:lnTo>
                    <a:pt x="353347" y="59759"/>
                  </a:lnTo>
                  <a:lnTo>
                    <a:pt x="367593" y="73895"/>
                  </a:lnTo>
                  <a:lnTo>
                    <a:pt x="381081" y="73569"/>
                  </a:lnTo>
                  <a:lnTo>
                    <a:pt x="415106" y="83348"/>
                  </a:lnTo>
                  <a:lnTo>
                    <a:pt x="415377" y="92139"/>
                  </a:lnTo>
                  <a:lnTo>
                    <a:pt x="406003" y="107744"/>
                  </a:lnTo>
                  <a:lnTo>
                    <a:pt x="411104" y="124077"/>
                  </a:lnTo>
                  <a:lnTo>
                    <a:pt x="407471" y="133906"/>
                  </a:lnTo>
                  <a:lnTo>
                    <a:pt x="385134" y="136063"/>
                  </a:lnTo>
                  <a:lnTo>
                    <a:pt x="373236" y="144258"/>
                  </a:lnTo>
                  <a:lnTo>
                    <a:pt x="372507" y="157246"/>
                  </a:lnTo>
                  <a:lnTo>
                    <a:pt x="354078" y="159577"/>
                  </a:lnTo>
                  <a:lnTo>
                    <a:pt x="338721" y="168988"/>
                  </a:lnTo>
                  <a:lnTo>
                    <a:pt x="317112" y="170519"/>
                  </a:lnTo>
                  <a:lnTo>
                    <a:pt x="297230" y="181317"/>
                  </a:lnTo>
                  <a:lnTo>
                    <a:pt x="298579" y="199240"/>
                  </a:lnTo>
                  <a:lnTo>
                    <a:pt x="309871" y="206160"/>
                  </a:lnTo>
                  <a:lnTo>
                    <a:pt x="333416" y="204441"/>
                  </a:lnTo>
                  <a:lnTo>
                    <a:pt x="328908" y="214650"/>
                  </a:lnTo>
                  <a:lnTo>
                    <a:pt x="303639" y="219594"/>
                  </a:lnTo>
                  <a:lnTo>
                    <a:pt x="272305" y="236042"/>
                  </a:lnTo>
                  <a:lnTo>
                    <a:pt x="259468" y="230270"/>
                  </a:lnTo>
                  <a:lnTo>
                    <a:pt x="264558" y="216890"/>
                  </a:lnTo>
                  <a:lnTo>
                    <a:pt x="239335" y="208524"/>
                  </a:lnTo>
                  <a:lnTo>
                    <a:pt x="243412" y="203030"/>
                  </a:lnTo>
                  <a:lnTo>
                    <a:pt x="265510" y="193480"/>
                  </a:lnTo>
                  <a:lnTo>
                    <a:pt x="258826" y="186880"/>
                  </a:lnTo>
                  <a:lnTo>
                    <a:pt x="222945" y="179578"/>
                  </a:lnTo>
                  <a:lnTo>
                    <a:pt x="221356" y="168769"/>
                  </a:lnTo>
                  <a:lnTo>
                    <a:pt x="199969" y="172343"/>
                  </a:lnTo>
                  <a:lnTo>
                    <a:pt x="191402" y="188269"/>
                  </a:lnTo>
                  <a:lnTo>
                    <a:pt x="173529" y="209501"/>
                  </a:lnTo>
                  <a:lnTo>
                    <a:pt x="163059" y="204586"/>
                  </a:lnTo>
                  <a:lnTo>
                    <a:pt x="152212" y="209194"/>
                  </a:lnTo>
                  <a:lnTo>
                    <a:pt x="141911" y="203916"/>
                  </a:lnTo>
                  <a:lnTo>
                    <a:pt x="147722" y="200799"/>
                  </a:lnTo>
                  <a:lnTo>
                    <a:pt x="151755" y="190933"/>
                  </a:lnTo>
                  <a:lnTo>
                    <a:pt x="158073" y="181733"/>
                  </a:lnTo>
                  <a:lnTo>
                    <a:pt x="156440" y="176552"/>
                  </a:lnTo>
                  <a:lnTo>
                    <a:pt x="161267" y="174240"/>
                  </a:lnTo>
                  <a:lnTo>
                    <a:pt x="163542" y="178249"/>
                  </a:lnTo>
                  <a:lnTo>
                    <a:pt x="177145" y="179096"/>
                  </a:lnTo>
                  <a:lnTo>
                    <a:pt x="183255" y="176956"/>
                  </a:lnTo>
                  <a:lnTo>
                    <a:pt x="178951" y="174018"/>
                  </a:lnTo>
                  <a:lnTo>
                    <a:pt x="180582" y="169695"/>
                  </a:lnTo>
                  <a:lnTo>
                    <a:pt x="172522" y="162304"/>
                  </a:lnTo>
                  <a:lnTo>
                    <a:pt x="169185" y="150106"/>
                  </a:lnTo>
                  <a:lnTo>
                    <a:pt x="160777" y="145318"/>
                  </a:lnTo>
                  <a:lnTo>
                    <a:pt x="162435" y="135373"/>
                  </a:lnTo>
                  <a:lnTo>
                    <a:pt x="152006" y="127449"/>
                  </a:lnTo>
                  <a:lnTo>
                    <a:pt x="142511" y="126346"/>
                  </a:lnTo>
                  <a:lnTo>
                    <a:pt x="125499" y="117137"/>
                  </a:lnTo>
                  <a:lnTo>
                    <a:pt x="110156" y="120064"/>
                  </a:lnTo>
                  <a:lnTo>
                    <a:pt x="104651" y="124422"/>
                  </a:lnTo>
                  <a:lnTo>
                    <a:pt x="94913" y="124418"/>
                  </a:lnTo>
                  <a:lnTo>
                    <a:pt x="89107" y="131310"/>
                  </a:lnTo>
                  <a:lnTo>
                    <a:pt x="72068" y="134138"/>
                  </a:lnTo>
                  <a:lnTo>
                    <a:pt x="64187" y="138651"/>
                  </a:lnTo>
                  <a:lnTo>
                    <a:pt x="53470" y="131465"/>
                  </a:lnTo>
                  <a:lnTo>
                    <a:pt x="38672" y="131355"/>
                  </a:lnTo>
                  <a:lnTo>
                    <a:pt x="24390" y="128093"/>
                  </a:lnTo>
                  <a:lnTo>
                    <a:pt x="14425" y="134399"/>
                  </a:lnTo>
                  <a:lnTo>
                    <a:pt x="12816" y="126503"/>
                  </a:lnTo>
                  <a:lnTo>
                    <a:pt x="0" y="118465"/>
                  </a:lnTo>
                  <a:lnTo>
                    <a:pt x="4507" y="106508"/>
                  </a:lnTo>
                  <a:lnTo>
                    <a:pt x="10907" y="98757"/>
                  </a:lnTo>
                  <a:lnTo>
                    <a:pt x="15946" y="100497"/>
                  </a:lnTo>
                  <a:lnTo>
                    <a:pt x="9992" y="87073"/>
                  </a:lnTo>
                  <a:lnTo>
                    <a:pt x="30952" y="62042"/>
                  </a:lnTo>
                  <a:lnTo>
                    <a:pt x="42407" y="58520"/>
                  </a:lnTo>
                  <a:lnTo>
                    <a:pt x="44882" y="50010"/>
                  </a:lnTo>
                  <a:lnTo>
                    <a:pt x="33273" y="23343"/>
                  </a:lnTo>
                  <a:lnTo>
                    <a:pt x="44307" y="22145"/>
                  </a:lnTo>
                  <a:lnTo>
                    <a:pt x="56957" y="13805"/>
                  </a:lnTo>
                  <a:lnTo>
                    <a:pt x="74838" y="13121"/>
                  </a:lnTo>
                  <a:lnTo>
                    <a:pt x="98156" y="15536"/>
                  </a:lnTo>
                  <a:lnTo>
                    <a:pt x="123919" y="22918"/>
                  </a:lnTo>
                  <a:lnTo>
                    <a:pt x="142098" y="23534"/>
                  </a:lnTo>
                  <a:lnTo>
                    <a:pt x="150776" y="27967"/>
                  </a:lnTo>
                  <a:lnTo>
                    <a:pt x="159438" y="22618"/>
                  </a:lnTo>
                  <a:lnTo>
                    <a:pt x="165488" y="29790"/>
                  </a:lnTo>
                  <a:lnTo>
                    <a:pt x="186318" y="28322"/>
                  </a:lnTo>
                  <a:lnTo>
                    <a:pt x="195499" y="31282"/>
                  </a:lnTo>
                  <a:lnTo>
                    <a:pt x="196984" y="15828"/>
                  </a:lnTo>
                  <a:lnTo>
                    <a:pt x="204096" y="905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67" name="Freeform 165">
              <a:extLst>
                <a:ext uri="{FF2B5EF4-FFF2-40B4-BE49-F238E27FC236}">
                  <a16:creationId xmlns:a16="http://schemas.microsoft.com/office/drawing/2014/main" id="{925CE54C-21AC-B444-A322-2018C367A8E6}"/>
                </a:ext>
              </a:extLst>
            </p:cNvPr>
            <p:cNvSpPr>
              <a:spLocks noChangeAspect="1"/>
            </p:cNvSpPr>
            <p:nvPr>
              <p:custDataLst>
                <p:tags r:id="rId171"/>
              </p:custDataLst>
            </p:nvPr>
          </p:nvSpPr>
          <p:spPr>
            <a:xfrm>
              <a:off x="5651676" y="3396483"/>
              <a:ext cx="395326" cy="232838"/>
            </a:xfrm>
            <a:custGeom>
              <a:avLst/>
              <a:gdLst/>
              <a:ahLst/>
              <a:cxnLst/>
              <a:rect l="0" t="0" r="0" b="0"/>
              <a:pathLst>
                <a:path w="395326" h="232838">
                  <a:moveTo>
                    <a:pt x="244438" y="227044"/>
                  </a:moveTo>
                  <a:lnTo>
                    <a:pt x="245074" y="210712"/>
                  </a:lnTo>
                  <a:lnTo>
                    <a:pt x="214370" y="199240"/>
                  </a:lnTo>
                  <a:lnTo>
                    <a:pt x="190231" y="186063"/>
                  </a:lnTo>
                  <a:lnTo>
                    <a:pt x="175176" y="173344"/>
                  </a:lnTo>
                  <a:lnTo>
                    <a:pt x="148775" y="154593"/>
                  </a:lnTo>
                  <a:lnTo>
                    <a:pt x="137429" y="126390"/>
                  </a:lnTo>
                  <a:lnTo>
                    <a:pt x="129684" y="121398"/>
                  </a:lnTo>
                  <a:lnTo>
                    <a:pt x="104727" y="122665"/>
                  </a:lnTo>
                  <a:lnTo>
                    <a:pt x="95894" y="117024"/>
                  </a:lnTo>
                  <a:lnTo>
                    <a:pt x="93427" y="94946"/>
                  </a:lnTo>
                  <a:lnTo>
                    <a:pt x="62325" y="80234"/>
                  </a:lnTo>
                  <a:lnTo>
                    <a:pt x="42878" y="96405"/>
                  </a:lnTo>
                  <a:lnTo>
                    <a:pt x="23158" y="105952"/>
                  </a:lnTo>
                  <a:lnTo>
                    <a:pt x="26948" y="119857"/>
                  </a:lnTo>
                  <a:lnTo>
                    <a:pt x="906" y="120234"/>
                  </a:lnTo>
                  <a:lnTo>
                    <a:pt x="0" y="16911"/>
                  </a:lnTo>
                  <a:lnTo>
                    <a:pt x="59419" y="0"/>
                  </a:lnTo>
                  <a:lnTo>
                    <a:pt x="63733" y="2490"/>
                  </a:lnTo>
                  <a:lnTo>
                    <a:pt x="99510" y="22947"/>
                  </a:lnTo>
                  <a:lnTo>
                    <a:pt x="118400" y="33695"/>
                  </a:lnTo>
                  <a:lnTo>
                    <a:pt x="140443" y="59145"/>
                  </a:lnTo>
                  <a:lnTo>
                    <a:pt x="167508" y="55049"/>
                  </a:lnTo>
                  <a:lnTo>
                    <a:pt x="207095" y="52852"/>
                  </a:lnTo>
                  <a:lnTo>
                    <a:pt x="234729" y="73357"/>
                  </a:lnTo>
                  <a:lnTo>
                    <a:pt x="233007" y="101283"/>
                  </a:lnTo>
                  <a:lnTo>
                    <a:pt x="244254" y="101478"/>
                  </a:lnTo>
                  <a:lnTo>
                    <a:pt x="248949" y="124092"/>
                  </a:lnTo>
                  <a:lnTo>
                    <a:pt x="278306" y="124984"/>
                  </a:lnTo>
                  <a:lnTo>
                    <a:pt x="284631" y="137980"/>
                  </a:lnTo>
                  <a:lnTo>
                    <a:pt x="293232" y="137806"/>
                  </a:lnTo>
                  <a:lnTo>
                    <a:pt x="303331" y="118151"/>
                  </a:lnTo>
                  <a:lnTo>
                    <a:pt x="333776" y="98881"/>
                  </a:lnTo>
                  <a:lnTo>
                    <a:pt x="347011" y="93750"/>
                  </a:lnTo>
                  <a:lnTo>
                    <a:pt x="353864" y="96484"/>
                  </a:lnTo>
                  <a:lnTo>
                    <a:pt x="334493" y="114408"/>
                  </a:lnTo>
                  <a:lnTo>
                    <a:pt x="351524" y="124775"/>
                  </a:lnTo>
                  <a:lnTo>
                    <a:pt x="367965" y="117913"/>
                  </a:lnTo>
                  <a:lnTo>
                    <a:pt x="395325" y="132398"/>
                  </a:lnTo>
                  <a:lnTo>
                    <a:pt x="365766" y="152088"/>
                  </a:lnTo>
                  <a:lnTo>
                    <a:pt x="348208" y="149402"/>
                  </a:lnTo>
                  <a:lnTo>
                    <a:pt x="338680" y="150106"/>
                  </a:lnTo>
                  <a:lnTo>
                    <a:pt x="335373" y="142517"/>
                  </a:lnTo>
                  <a:lnTo>
                    <a:pt x="340185" y="129813"/>
                  </a:lnTo>
                  <a:lnTo>
                    <a:pt x="309321" y="136186"/>
                  </a:lnTo>
                  <a:lnTo>
                    <a:pt x="301984" y="153714"/>
                  </a:lnTo>
                  <a:lnTo>
                    <a:pt x="291014" y="168733"/>
                  </a:lnTo>
                  <a:lnTo>
                    <a:pt x="271741" y="167458"/>
                  </a:lnTo>
                  <a:lnTo>
                    <a:pt x="265757" y="179377"/>
                  </a:lnTo>
                  <a:lnTo>
                    <a:pt x="282695" y="185817"/>
                  </a:lnTo>
                  <a:lnTo>
                    <a:pt x="287682" y="205830"/>
                  </a:lnTo>
                  <a:lnTo>
                    <a:pt x="274708" y="232837"/>
                  </a:lnTo>
                  <a:lnTo>
                    <a:pt x="257299" y="22722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68" name="Freeform 166">
              <a:extLst>
                <a:ext uri="{FF2B5EF4-FFF2-40B4-BE49-F238E27FC236}">
                  <a16:creationId xmlns:a16="http://schemas.microsoft.com/office/drawing/2014/main" id="{8E1E828F-94F2-EF4F-80B1-80AC9F37861E}"/>
                </a:ext>
              </a:extLst>
            </p:cNvPr>
            <p:cNvSpPr>
              <a:spLocks noChangeAspect="1"/>
            </p:cNvSpPr>
            <p:nvPr>
              <p:custDataLst>
                <p:tags r:id="rId172"/>
              </p:custDataLst>
            </p:nvPr>
          </p:nvSpPr>
          <p:spPr>
            <a:xfrm>
              <a:off x="6719053" y="3979130"/>
              <a:ext cx="165385" cy="349858"/>
            </a:xfrm>
            <a:custGeom>
              <a:avLst/>
              <a:gdLst/>
              <a:ahLst/>
              <a:cxnLst/>
              <a:rect l="0" t="0" r="0" b="0"/>
              <a:pathLst>
                <a:path w="165385" h="349858">
                  <a:moveTo>
                    <a:pt x="135721" y="43671"/>
                  </a:moveTo>
                  <a:lnTo>
                    <a:pt x="104903" y="64310"/>
                  </a:lnTo>
                  <a:lnTo>
                    <a:pt x="85666" y="87018"/>
                  </a:lnTo>
                  <a:lnTo>
                    <a:pt x="80596" y="103642"/>
                  </a:lnTo>
                  <a:lnTo>
                    <a:pt x="98249" y="128810"/>
                  </a:lnTo>
                  <a:lnTo>
                    <a:pt x="119835" y="159879"/>
                  </a:lnTo>
                  <a:lnTo>
                    <a:pt x="140783" y="174519"/>
                  </a:lnTo>
                  <a:lnTo>
                    <a:pt x="154809" y="193509"/>
                  </a:lnTo>
                  <a:lnTo>
                    <a:pt x="165384" y="237101"/>
                  </a:lnTo>
                  <a:lnTo>
                    <a:pt x="162265" y="278339"/>
                  </a:lnTo>
                  <a:lnTo>
                    <a:pt x="143013" y="293732"/>
                  </a:lnTo>
                  <a:lnTo>
                    <a:pt x="116579" y="308761"/>
                  </a:lnTo>
                  <a:lnTo>
                    <a:pt x="97748" y="328191"/>
                  </a:lnTo>
                  <a:lnTo>
                    <a:pt x="68968" y="349857"/>
                  </a:lnTo>
                  <a:lnTo>
                    <a:pt x="60587" y="334938"/>
                  </a:lnTo>
                  <a:lnTo>
                    <a:pt x="67073" y="319160"/>
                  </a:lnTo>
                  <a:lnTo>
                    <a:pt x="49949" y="305913"/>
                  </a:lnTo>
                  <a:lnTo>
                    <a:pt x="69929" y="296512"/>
                  </a:lnTo>
                  <a:lnTo>
                    <a:pt x="94161" y="294819"/>
                  </a:lnTo>
                  <a:lnTo>
                    <a:pt x="84023" y="280660"/>
                  </a:lnTo>
                  <a:lnTo>
                    <a:pt x="122822" y="262646"/>
                  </a:lnTo>
                  <a:lnTo>
                    <a:pt x="125665" y="234528"/>
                  </a:lnTo>
                  <a:lnTo>
                    <a:pt x="120314" y="218840"/>
                  </a:lnTo>
                  <a:lnTo>
                    <a:pt x="124511" y="195269"/>
                  </a:lnTo>
                  <a:lnTo>
                    <a:pt x="118698" y="178572"/>
                  </a:lnTo>
                  <a:lnTo>
                    <a:pt x="101231" y="162089"/>
                  </a:lnTo>
                  <a:lnTo>
                    <a:pt x="86684" y="141162"/>
                  </a:lnTo>
                  <a:lnTo>
                    <a:pt x="67498" y="112994"/>
                  </a:lnTo>
                  <a:lnTo>
                    <a:pt x="39843" y="98687"/>
                  </a:lnTo>
                  <a:lnTo>
                    <a:pt x="46465" y="90073"/>
                  </a:lnTo>
                  <a:lnTo>
                    <a:pt x="61219" y="83789"/>
                  </a:lnTo>
                  <a:lnTo>
                    <a:pt x="52272" y="62820"/>
                  </a:lnTo>
                  <a:lnTo>
                    <a:pt x="23855" y="62631"/>
                  </a:lnTo>
                  <a:lnTo>
                    <a:pt x="13491" y="40703"/>
                  </a:lnTo>
                  <a:lnTo>
                    <a:pt x="0" y="21576"/>
                  </a:lnTo>
                  <a:lnTo>
                    <a:pt x="12386" y="15650"/>
                  </a:lnTo>
                  <a:lnTo>
                    <a:pt x="30795" y="15773"/>
                  </a:lnTo>
                  <a:lnTo>
                    <a:pt x="53239" y="12969"/>
                  </a:lnTo>
                  <a:lnTo>
                    <a:pt x="72914" y="0"/>
                  </a:lnTo>
                  <a:lnTo>
                    <a:pt x="84040" y="9133"/>
                  </a:lnTo>
                  <a:lnTo>
                    <a:pt x="105141" y="13574"/>
                  </a:lnTo>
                  <a:lnTo>
                    <a:pt x="101491" y="27555"/>
                  </a:lnTo>
                  <a:lnTo>
                    <a:pt x="112482" y="37395"/>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69" name="Freeform 167">
              <a:extLst>
                <a:ext uri="{FF2B5EF4-FFF2-40B4-BE49-F238E27FC236}">
                  <a16:creationId xmlns:a16="http://schemas.microsoft.com/office/drawing/2014/main" id="{8D1F6FF9-784C-1B49-8E73-EC75A638C6D6}"/>
                </a:ext>
              </a:extLst>
            </p:cNvPr>
            <p:cNvSpPr>
              <a:spLocks noChangeAspect="1"/>
            </p:cNvSpPr>
            <p:nvPr>
              <p:custDataLst>
                <p:tags r:id="rId173"/>
              </p:custDataLst>
            </p:nvPr>
          </p:nvSpPr>
          <p:spPr>
            <a:xfrm>
              <a:off x="8206932" y="4867961"/>
              <a:ext cx="28063" cy="46609"/>
            </a:xfrm>
            <a:custGeom>
              <a:avLst/>
              <a:gdLst/>
              <a:ahLst/>
              <a:cxnLst/>
              <a:rect l="l" t="t" r="r" b="b"/>
              <a:pathLst>
                <a:path w="28063" h="46609">
                  <a:moveTo>
                    <a:pt x="13565" y="29884"/>
                  </a:moveTo>
                  <a:lnTo>
                    <a:pt x="28063" y="43490"/>
                  </a:lnTo>
                  <a:lnTo>
                    <a:pt x="20453" y="46609"/>
                  </a:lnTo>
                  <a:lnTo>
                    <a:pt x="12717" y="36232"/>
                  </a:lnTo>
                  <a:close/>
                  <a:moveTo>
                    <a:pt x="0" y="0"/>
                  </a:moveTo>
                  <a:lnTo>
                    <a:pt x="11048" y="7250"/>
                  </a:lnTo>
                  <a:lnTo>
                    <a:pt x="14795" y="26292"/>
                  </a:lnTo>
                  <a:lnTo>
                    <a:pt x="8589" y="23326"/>
                  </a:lnTo>
                  <a:lnTo>
                    <a:pt x="3787" y="24608"/>
                  </a:lnTo>
                  <a:lnTo>
                    <a:pt x="479" y="18082"/>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70" name="Freeform 168">
              <a:extLst>
                <a:ext uri="{FF2B5EF4-FFF2-40B4-BE49-F238E27FC236}">
                  <a16:creationId xmlns:a16="http://schemas.microsoft.com/office/drawing/2014/main" id="{8EC1BFFC-BD37-1343-BF8E-FF593851FECE}"/>
                </a:ext>
              </a:extLst>
            </p:cNvPr>
            <p:cNvSpPr>
              <a:spLocks noChangeAspect="1"/>
            </p:cNvSpPr>
            <p:nvPr>
              <p:custDataLst>
                <p:tags r:id="rId174"/>
              </p:custDataLst>
            </p:nvPr>
          </p:nvSpPr>
          <p:spPr>
            <a:xfrm>
              <a:off x="5344121" y="4084163"/>
              <a:ext cx="242455" cy="151784"/>
            </a:xfrm>
            <a:custGeom>
              <a:avLst/>
              <a:gdLst/>
              <a:ahLst/>
              <a:cxnLst/>
              <a:rect l="0" t="0" r="0" b="0"/>
              <a:pathLst>
                <a:path w="242455" h="151784">
                  <a:moveTo>
                    <a:pt x="242454" y="55947"/>
                  </a:moveTo>
                  <a:lnTo>
                    <a:pt x="225756" y="62316"/>
                  </a:lnTo>
                  <a:lnTo>
                    <a:pt x="221290" y="72831"/>
                  </a:lnTo>
                  <a:lnTo>
                    <a:pt x="220746" y="80897"/>
                  </a:lnTo>
                  <a:lnTo>
                    <a:pt x="197764" y="90871"/>
                  </a:lnTo>
                  <a:lnTo>
                    <a:pt x="160879" y="101878"/>
                  </a:lnTo>
                  <a:lnTo>
                    <a:pt x="140212" y="118497"/>
                  </a:lnTo>
                  <a:lnTo>
                    <a:pt x="130050" y="119794"/>
                  </a:lnTo>
                  <a:lnTo>
                    <a:pt x="123124" y="118402"/>
                  </a:lnTo>
                  <a:lnTo>
                    <a:pt x="109633" y="128162"/>
                  </a:lnTo>
                  <a:lnTo>
                    <a:pt x="94921" y="132686"/>
                  </a:lnTo>
                  <a:lnTo>
                    <a:pt x="75543" y="133906"/>
                  </a:lnTo>
                  <a:lnTo>
                    <a:pt x="69714" y="135241"/>
                  </a:lnTo>
                  <a:lnTo>
                    <a:pt x="64668" y="141440"/>
                  </a:lnTo>
                  <a:lnTo>
                    <a:pt x="58618" y="143152"/>
                  </a:lnTo>
                  <a:lnTo>
                    <a:pt x="55044" y="149119"/>
                  </a:lnTo>
                  <a:lnTo>
                    <a:pt x="43619" y="148602"/>
                  </a:lnTo>
                  <a:lnTo>
                    <a:pt x="36245" y="151783"/>
                  </a:lnTo>
                  <a:lnTo>
                    <a:pt x="20269" y="150591"/>
                  </a:lnTo>
                  <a:lnTo>
                    <a:pt x="14265" y="136884"/>
                  </a:lnTo>
                  <a:lnTo>
                    <a:pt x="14925" y="124039"/>
                  </a:lnTo>
                  <a:lnTo>
                    <a:pt x="11151" y="117098"/>
                  </a:lnTo>
                  <a:lnTo>
                    <a:pt x="6633" y="99673"/>
                  </a:lnTo>
                  <a:lnTo>
                    <a:pt x="0" y="89972"/>
                  </a:lnTo>
                  <a:lnTo>
                    <a:pt x="4620" y="88824"/>
                  </a:lnTo>
                  <a:lnTo>
                    <a:pt x="2252" y="78025"/>
                  </a:lnTo>
                  <a:lnTo>
                    <a:pt x="5051" y="73463"/>
                  </a:lnTo>
                  <a:lnTo>
                    <a:pt x="4027" y="63134"/>
                  </a:lnTo>
                  <a:lnTo>
                    <a:pt x="14161" y="55571"/>
                  </a:lnTo>
                  <a:lnTo>
                    <a:pt x="11794" y="45564"/>
                  </a:lnTo>
                  <a:lnTo>
                    <a:pt x="17910" y="33877"/>
                  </a:lnTo>
                  <a:lnTo>
                    <a:pt x="27391" y="40061"/>
                  </a:lnTo>
                  <a:lnTo>
                    <a:pt x="33648" y="37912"/>
                  </a:lnTo>
                  <a:lnTo>
                    <a:pt x="60287" y="37366"/>
                  </a:lnTo>
                  <a:lnTo>
                    <a:pt x="64519" y="39744"/>
                  </a:lnTo>
                  <a:lnTo>
                    <a:pt x="86832" y="42122"/>
                  </a:lnTo>
                  <a:lnTo>
                    <a:pt x="95680" y="40932"/>
                  </a:lnTo>
                  <a:lnTo>
                    <a:pt x="101451" y="48852"/>
                  </a:lnTo>
                  <a:lnTo>
                    <a:pt x="112224" y="44893"/>
                  </a:lnTo>
                  <a:lnTo>
                    <a:pt x="128766" y="19902"/>
                  </a:lnTo>
                  <a:lnTo>
                    <a:pt x="150310" y="9162"/>
                  </a:lnTo>
                  <a:lnTo>
                    <a:pt x="216865" y="0"/>
                  </a:lnTo>
                  <a:lnTo>
                    <a:pt x="234919" y="3935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71" name="Freeform 169">
              <a:extLst>
                <a:ext uri="{FF2B5EF4-FFF2-40B4-BE49-F238E27FC236}">
                  <a16:creationId xmlns:a16="http://schemas.microsoft.com/office/drawing/2014/main" id="{E29ECAD5-6430-F34D-A98B-9BFC7FAF3374}"/>
                </a:ext>
              </a:extLst>
            </p:cNvPr>
            <p:cNvSpPr>
              <a:spLocks noChangeAspect="1"/>
            </p:cNvSpPr>
            <p:nvPr>
              <p:custDataLst>
                <p:tags r:id="rId175"/>
              </p:custDataLst>
            </p:nvPr>
          </p:nvSpPr>
          <p:spPr>
            <a:xfrm>
              <a:off x="4737973" y="5046181"/>
              <a:ext cx="380521" cy="319180"/>
            </a:xfrm>
            <a:custGeom>
              <a:avLst/>
              <a:gdLst/>
              <a:ahLst/>
              <a:cxnLst/>
              <a:rect l="l" t="t" r="r" b="b"/>
              <a:pathLst>
                <a:path w="380521" h="319180">
                  <a:moveTo>
                    <a:pt x="281533" y="161424"/>
                  </a:moveTo>
                  <a:lnTo>
                    <a:pt x="270745" y="166538"/>
                  </a:lnTo>
                  <a:lnTo>
                    <a:pt x="258239" y="176367"/>
                  </a:lnTo>
                  <a:lnTo>
                    <a:pt x="245930" y="192323"/>
                  </a:lnTo>
                  <a:lnTo>
                    <a:pt x="263245" y="211790"/>
                  </a:lnTo>
                  <a:lnTo>
                    <a:pt x="271504" y="209269"/>
                  </a:lnTo>
                  <a:lnTo>
                    <a:pt x="275748" y="201176"/>
                  </a:lnTo>
                  <a:lnTo>
                    <a:pt x="288613" y="197227"/>
                  </a:lnTo>
                  <a:lnTo>
                    <a:pt x="292537" y="188987"/>
                  </a:lnTo>
                  <a:lnTo>
                    <a:pt x="299618" y="176735"/>
                  </a:lnTo>
                  <a:lnTo>
                    <a:pt x="291610" y="169152"/>
                  </a:lnTo>
                  <a:close/>
                  <a:moveTo>
                    <a:pt x="302088" y="0"/>
                  </a:moveTo>
                  <a:lnTo>
                    <a:pt x="311479" y="264"/>
                  </a:lnTo>
                  <a:lnTo>
                    <a:pt x="322648" y="4370"/>
                  </a:lnTo>
                  <a:lnTo>
                    <a:pt x="330426" y="1460"/>
                  </a:lnTo>
                  <a:lnTo>
                    <a:pt x="342696" y="3882"/>
                  </a:lnTo>
                  <a:lnTo>
                    <a:pt x="353752" y="38114"/>
                  </a:lnTo>
                  <a:lnTo>
                    <a:pt x="359758" y="55480"/>
                  </a:lnTo>
                  <a:lnTo>
                    <a:pt x="355645" y="82856"/>
                  </a:lnTo>
                  <a:lnTo>
                    <a:pt x="357615" y="91706"/>
                  </a:lnTo>
                  <a:lnTo>
                    <a:pt x="345968" y="87190"/>
                  </a:lnTo>
                  <a:lnTo>
                    <a:pt x="339295" y="88947"/>
                  </a:lnTo>
                  <a:lnTo>
                    <a:pt x="337116" y="96132"/>
                  </a:lnTo>
                  <a:lnTo>
                    <a:pt x="330813" y="105413"/>
                  </a:lnTo>
                  <a:lnTo>
                    <a:pt x="331029" y="113977"/>
                  </a:lnTo>
                  <a:lnTo>
                    <a:pt x="344805" y="127435"/>
                  </a:lnTo>
                  <a:lnTo>
                    <a:pt x="358315" y="124751"/>
                  </a:lnTo>
                  <a:lnTo>
                    <a:pt x="363014" y="113728"/>
                  </a:lnTo>
                  <a:lnTo>
                    <a:pt x="380521" y="113936"/>
                  </a:lnTo>
                  <a:lnTo>
                    <a:pt x="374754" y="132019"/>
                  </a:lnTo>
                  <a:lnTo>
                    <a:pt x="372027" y="152749"/>
                  </a:lnTo>
                  <a:lnTo>
                    <a:pt x="366055" y="164053"/>
                  </a:lnTo>
                  <a:lnTo>
                    <a:pt x="350303" y="176735"/>
                  </a:lnTo>
                  <a:lnTo>
                    <a:pt x="345792" y="180374"/>
                  </a:lnTo>
                  <a:lnTo>
                    <a:pt x="336010" y="193182"/>
                  </a:lnTo>
                  <a:lnTo>
                    <a:pt x="329571" y="206178"/>
                  </a:lnTo>
                  <a:lnTo>
                    <a:pt x="316481" y="224372"/>
                  </a:lnTo>
                  <a:lnTo>
                    <a:pt x="290394" y="250720"/>
                  </a:lnTo>
                  <a:lnTo>
                    <a:pt x="274102" y="266124"/>
                  </a:lnTo>
                  <a:lnTo>
                    <a:pt x="256671" y="277850"/>
                  </a:lnTo>
                  <a:lnTo>
                    <a:pt x="232546" y="287878"/>
                  </a:lnTo>
                  <a:lnTo>
                    <a:pt x="220779" y="289226"/>
                  </a:lnTo>
                  <a:lnTo>
                    <a:pt x="217800" y="296421"/>
                  </a:lnTo>
                  <a:lnTo>
                    <a:pt x="203771" y="292589"/>
                  </a:lnTo>
                  <a:lnTo>
                    <a:pt x="192345" y="297524"/>
                  </a:lnTo>
                  <a:lnTo>
                    <a:pt x="167328" y="292527"/>
                  </a:lnTo>
                  <a:lnTo>
                    <a:pt x="153343" y="295689"/>
                  </a:lnTo>
                  <a:lnTo>
                    <a:pt x="143787" y="294331"/>
                  </a:lnTo>
                  <a:lnTo>
                    <a:pt x="119980" y="304581"/>
                  </a:lnTo>
                  <a:lnTo>
                    <a:pt x="100273" y="308700"/>
                  </a:lnTo>
                  <a:lnTo>
                    <a:pt x="86013" y="318552"/>
                  </a:lnTo>
                  <a:lnTo>
                    <a:pt x="75514" y="319180"/>
                  </a:lnTo>
                  <a:lnTo>
                    <a:pt x="65747" y="309883"/>
                  </a:lnTo>
                  <a:lnTo>
                    <a:pt x="57946" y="309406"/>
                  </a:lnTo>
                  <a:lnTo>
                    <a:pt x="48004" y="297802"/>
                  </a:lnTo>
                  <a:lnTo>
                    <a:pt x="46914" y="301402"/>
                  </a:lnTo>
                  <a:lnTo>
                    <a:pt x="43846" y="294427"/>
                  </a:lnTo>
                  <a:lnTo>
                    <a:pt x="43975" y="279256"/>
                  </a:lnTo>
                  <a:lnTo>
                    <a:pt x="36476" y="261993"/>
                  </a:lnTo>
                  <a:lnTo>
                    <a:pt x="43925" y="257314"/>
                  </a:lnTo>
                  <a:lnTo>
                    <a:pt x="43321" y="237663"/>
                  </a:lnTo>
                  <a:lnTo>
                    <a:pt x="28206" y="213835"/>
                  </a:lnTo>
                  <a:lnTo>
                    <a:pt x="16607" y="192391"/>
                  </a:lnTo>
                  <a:lnTo>
                    <a:pt x="16572" y="192323"/>
                  </a:lnTo>
                  <a:lnTo>
                    <a:pt x="0" y="159650"/>
                  </a:lnTo>
                  <a:lnTo>
                    <a:pt x="11058" y="147279"/>
                  </a:lnTo>
                  <a:lnTo>
                    <a:pt x="20174" y="154123"/>
                  </a:lnTo>
                  <a:lnTo>
                    <a:pt x="24064" y="164833"/>
                  </a:lnTo>
                  <a:lnTo>
                    <a:pt x="34420" y="166661"/>
                  </a:lnTo>
                  <a:lnTo>
                    <a:pt x="48934" y="171409"/>
                  </a:lnTo>
                  <a:lnTo>
                    <a:pt x="61334" y="169575"/>
                  </a:lnTo>
                  <a:lnTo>
                    <a:pt x="81938" y="156755"/>
                  </a:lnTo>
                  <a:lnTo>
                    <a:pt x="81962" y="65245"/>
                  </a:lnTo>
                  <a:lnTo>
                    <a:pt x="88193" y="68931"/>
                  </a:lnTo>
                  <a:lnTo>
                    <a:pt x="101879" y="92318"/>
                  </a:lnTo>
                  <a:lnTo>
                    <a:pt x="99752" y="107377"/>
                  </a:lnTo>
                  <a:lnTo>
                    <a:pt x="104903" y="116077"/>
                  </a:lnTo>
                  <a:lnTo>
                    <a:pt x="121436" y="113547"/>
                  </a:lnTo>
                  <a:lnTo>
                    <a:pt x="132980" y="102498"/>
                  </a:lnTo>
                  <a:lnTo>
                    <a:pt x="143911" y="95066"/>
                  </a:lnTo>
                  <a:lnTo>
                    <a:pt x="149560" y="83255"/>
                  </a:lnTo>
                  <a:lnTo>
                    <a:pt x="160820" y="77550"/>
                  </a:lnTo>
                  <a:lnTo>
                    <a:pt x="170549" y="80538"/>
                  </a:lnTo>
                  <a:lnTo>
                    <a:pt x="181575" y="87437"/>
                  </a:lnTo>
                  <a:lnTo>
                    <a:pt x="200362" y="88656"/>
                  </a:lnTo>
                  <a:lnTo>
                    <a:pt x="215124" y="82919"/>
                  </a:lnTo>
                  <a:lnTo>
                    <a:pt x="217459" y="75242"/>
                  </a:lnTo>
                  <a:lnTo>
                    <a:pt x="221517" y="63493"/>
                  </a:lnTo>
                  <a:lnTo>
                    <a:pt x="234076" y="61530"/>
                  </a:lnTo>
                  <a:lnTo>
                    <a:pt x="241016" y="52329"/>
                  </a:lnTo>
                  <a:lnTo>
                    <a:pt x="248703" y="36049"/>
                  </a:lnTo>
                  <a:lnTo>
                    <a:pt x="269427" y="1787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72" name="Freeform 170">
              <a:extLst>
                <a:ext uri="{FF2B5EF4-FFF2-40B4-BE49-F238E27FC236}">
                  <a16:creationId xmlns:a16="http://schemas.microsoft.com/office/drawing/2014/main" id="{A2A860B2-5886-7C4F-84EC-7BC73346938E}"/>
                </a:ext>
              </a:extLst>
            </p:cNvPr>
            <p:cNvSpPr>
              <a:spLocks noChangeAspect="1"/>
            </p:cNvSpPr>
            <p:nvPr>
              <p:custDataLst>
                <p:tags r:id="rId176"/>
              </p:custDataLst>
            </p:nvPr>
          </p:nvSpPr>
          <p:spPr>
            <a:xfrm>
              <a:off x="4865917" y="4718552"/>
              <a:ext cx="267710" cy="228428"/>
            </a:xfrm>
            <a:custGeom>
              <a:avLst/>
              <a:gdLst/>
              <a:ahLst/>
              <a:cxnLst/>
              <a:rect l="0" t="0" r="0" b="0"/>
              <a:pathLst>
                <a:path w="267710" h="228428">
                  <a:moveTo>
                    <a:pt x="250944" y="23078"/>
                  </a:moveTo>
                  <a:lnTo>
                    <a:pt x="261839" y="33466"/>
                  </a:lnTo>
                  <a:lnTo>
                    <a:pt x="267709" y="53256"/>
                  </a:lnTo>
                  <a:lnTo>
                    <a:pt x="263776" y="59581"/>
                  </a:lnTo>
                  <a:lnTo>
                    <a:pt x="259136" y="78525"/>
                  </a:lnTo>
                  <a:lnTo>
                    <a:pt x="263571" y="97923"/>
                  </a:lnTo>
                  <a:lnTo>
                    <a:pt x="256308" y="106084"/>
                  </a:lnTo>
                  <a:lnTo>
                    <a:pt x="249300" y="127900"/>
                  </a:lnTo>
                  <a:lnTo>
                    <a:pt x="261438" y="133992"/>
                  </a:lnTo>
                  <a:lnTo>
                    <a:pt x="191393" y="153408"/>
                  </a:lnTo>
                  <a:lnTo>
                    <a:pt x="193580" y="170210"/>
                  </a:lnTo>
                  <a:lnTo>
                    <a:pt x="176097" y="173446"/>
                  </a:lnTo>
                  <a:lnTo>
                    <a:pt x="162954" y="182871"/>
                  </a:lnTo>
                  <a:lnTo>
                    <a:pt x="160148" y="191084"/>
                  </a:lnTo>
                  <a:lnTo>
                    <a:pt x="151885" y="192948"/>
                  </a:lnTo>
                  <a:lnTo>
                    <a:pt x="131811" y="212472"/>
                  </a:lnTo>
                  <a:lnTo>
                    <a:pt x="119027" y="227874"/>
                  </a:lnTo>
                  <a:lnTo>
                    <a:pt x="111233" y="228427"/>
                  </a:lnTo>
                  <a:lnTo>
                    <a:pt x="103735" y="225683"/>
                  </a:lnTo>
                  <a:lnTo>
                    <a:pt x="77935" y="223075"/>
                  </a:lnTo>
                  <a:lnTo>
                    <a:pt x="73785" y="221296"/>
                  </a:lnTo>
                  <a:lnTo>
                    <a:pt x="73613" y="219321"/>
                  </a:lnTo>
                  <a:lnTo>
                    <a:pt x="64504" y="213960"/>
                  </a:lnTo>
                  <a:lnTo>
                    <a:pt x="49535" y="212591"/>
                  </a:lnTo>
                  <a:lnTo>
                    <a:pt x="30635" y="217996"/>
                  </a:lnTo>
                  <a:lnTo>
                    <a:pt x="15572" y="203150"/>
                  </a:lnTo>
                  <a:lnTo>
                    <a:pt x="0" y="183754"/>
                  </a:lnTo>
                  <a:lnTo>
                    <a:pt x="1062" y="108772"/>
                  </a:lnTo>
                  <a:lnTo>
                    <a:pt x="49126" y="109068"/>
                  </a:lnTo>
                  <a:lnTo>
                    <a:pt x="47159" y="100972"/>
                  </a:lnTo>
                  <a:lnTo>
                    <a:pt x="50598" y="92195"/>
                  </a:lnTo>
                  <a:lnTo>
                    <a:pt x="46541" y="81217"/>
                  </a:lnTo>
                  <a:lnTo>
                    <a:pt x="49167" y="69876"/>
                  </a:lnTo>
                  <a:lnTo>
                    <a:pt x="46727" y="62623"/>
                  </a:lnTo>
                  <a:lnTo>
                    <a:pt x="54690" y="63211"/>
                  </a:lnTo>
                  <a:lnTo>
                    <a:pt x="56014" y="70473"/>
                  </a:lnTo>
                  <a:lnTo>
                    <a:pt x="66832" y="69909"/>
                  </a:lnTo>
                  <a:lnTo>
                    <a:pt x="81488" y="72065"/>
                  </a:lnTo>
                  <a:lnTo>
                    <a:pt x="89202" y="82683"/>
                  </a:lnTo>
                  <a:lnTo>
                    <a:pt x="107686" y="85947"/>
                  </a:lnTo>
                  <a:lnTo>
                    <a:pt x="121797" y="78561"/>
                  </a:lnTo>
                  <a:lnTo>
                    <a:pt x="126976" y="90824"/>
                  </a:lnTo>
                  <a:lnTo>
                    <a:pt x="144665" y="94097"/>
                  </a:lnTo>
                  <a:lnTo>
                    <a:pt x="153170" y="104084"/>
                  </a:lnTo>
                  <a:lnTo>
                    <a:pt x="162650" y="116999"/>
                  </a:lnTo>
                  <a:lnTo>
                    <a:pt x="180316" y="117194"/>
                  </a:lnTo>
                  <a:lnTo>
                    <a:pt x="178386" y="91905"/>
                  </a:lnTo>
                  <a:lnTo>
                    <a:pt x="172051" y="96165"/>
                  </a:lnTo>
                  <a:lnTo>
                    <a:pt x="155913" y="87050"/>
                  </a:lnTo>
                  <a:lnTo>
                    <a:pt x="149677" y="82886"/>
                  </a:lnTo>
                  <a:lnTo>
                    <a:pt x="152535" y="59425"/>
                  </a:lnTo>
                  <a:lnTo>
                    <a:pt x="156635" y="31817"/>
                  </a:lnTo>
                  <a:lnTo>
                    <a:pt x="151469" y="21549"/>
                  </a:lnTo>
                  <a:lnTo>
                    <a:pt x="158047" y="6701"/>
                  </a:lnTo>
                  <a:lnTo>
                    <a:pt x="164234" y="3923"/>
                  </a:lnTo>
                  <a:lnTo>
                    <a:pt x="195238" y="0"/>
                  </a:lnTo>
                  <a:lnTo>
                    <a:pt x="204331" y="2365"/>
                  </a:lnTo>
                  <a:lnTo>
                    <a:pt x="213974" y="8282"/>
                  </a:lnTo>
                  <a:lnTo>
                    <a:pt x="223174" y="12177"/>
                  </a:lnTo>
                  <a:lnTo>
                    <a:pt x="237844" y="16092"/>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73" name="Freeform 171">
              <a:extLst>
                <a:ext uri="{FF2B5EF4-FFF2-40B4-BE49-F238E27FC236}">
                  <a16:creationId xmlns:a16="http://schemas.microsoft.com/office/drawing/2014/main" id="{985FC9E5-55D0-9A45-A568-9C6542AAFF67}"/>
                </a:ext>
              </a:extLst>
            </p:cNvPr>
            <p:cNvSpPr>
              <a:spLocks noChangeAspect="1"/>
            </p:cNvSpPr>
            <p:nvPr>
              <p:custDataLst>
                <p:tags r:id="rId177"/>
              </p:custDataLst>
            </p:nvPr>
          </p:nvSpPr>
          <p:spPr>
            <a:xfrm>
              <a:off x="4943852" y="4888762"/>
              <a:ext cx="175098" cy="161790"/>
            </a:xfrm>
            <a:custGeom>
              <a:avLst/>
              <a:gdLst/>
              <a:ahLst/>
              <a:cxnLst/>
              <a:rect l="0" t="0" r="0" b="0"/>
              <a:pathLst>
                <a:path w="175098" h="161790">
                  <a:moveTo>
                    <a:pt x="136816" y="161301"/>
                  </a:moveTo>
                  <a:lnTo>
                    <a:pt x="124546" y="158879"/>
                  </a:lnTo>
                  <a:lnTo>
                    <a:pt x="116768" y="161789"/>
                  </a:lnTo>
                  <a:lnTo>
                    <a:pt x="105599" y="157683"/>
                  </a:lnTo>
                  <a:lnTo>
                    <a:pt x="96208" y="157419"/>
                  </a:lnTo>
                  <a:lnTo>
                    <a:pt x="81492" y="146483"/>
                  </a:lnTo>
                  <a:lnTo>
                    <a:pt x="63643" y="142774"/>
                  </a:lnTo>
                  <a:lnTo>
                    <a:pt x="56853" y="127472"/>
                  </a:lnTo>
                  <a:lnTo>
                    <a:pt x="56796" y="118978"/>
                  </a:lnTo>
                  <a:lnTo>
                    <a:pt x="46911" y="116391"/>
                  </a:lnTo>
                  <a:lnTo>
                    <a:pt x="20788" y="90031"/>
                  </a:lnTo>
                  <a:lnTo>
                    <a:pt x="13531" y="76189"/>
                  </a:lnTo>
                  <a:lnTo>
                    <a:pt x="8886" y="71928"/>
                  </a:lnTo>
                  <a:lnTo>
                    <a:pt x="0" y="52865"/>
                  </a:lnTo>
                  <a:lnTo>
                    <a:pt x="25800" y="55473"/>
                  </a:lnTo>
                  <a:lnTo>
                    <a:pt x="33298" y="58217"/>
                  </a:lnTo>
                  <a:lnTo>
                    <a:pt x="41092" y="57664"/>
                  </a:lnTo>
                  <a:lnTo>
                    <a:pt x="53876" y="42262"/>
                  </a:lnTo>
                  <a:lnTo>
                    <a:pt x="73950" y="22738"/>
                  </a:lnTo>
                  <a:lnTo>
                    <a:pt x="82213" y="20874"/>
                  </a:lnTo>
                  <a:lnTo>
                    <a:pt x="85019" y="12661"/>
                  </a:lnTo>
                  <a:lnTo>
                    <a:pt x="98162" y="3236"/>
                  </a:lnTo>
                  <a:lnTo>
                    <a:pt x="115645" y="0"/>
                  </a:lnTo>
                  <a:lnTo>
                    <a:pt x="117139" y="8822"/>
                  </a:lnTo>
                  <a:lnTo>
                    <a:pt x="136392" y="8351"/>
                  </a:lnTo>
                  <a:lnTo>
                    <a:pt x="147090" y="13347"/>
                  </a:lnTo>
                  <a:lnTo>
                    <a:pt x="152065" y="19207"/>
                  </a:lnTo>
                  <a:lnTo>
                    <a:pt x="163057" y="20929"/>
                  </a:lnTo>
                  <a:lnTo>
                    <a:pt x="175046" y="28549"/>
                  </a:lnTo>
                  <a:lnTo>
                    <a:pt x="175097" y="58642"/>
                  </a:lnTo>
                  <a:lnTo>
                    <a:pt x="170597" y="75178"/>
                  </a:lnTo>
                  <a:lnTo>
                    <a:pt x="169606" y="93056"/>
                  </a:lnTo>
                  <a:lnTo>
                    <a:pt x="173316" y="100156"/>
                  </a:lnTo>
                  <a:lnTo>
                    <a:pt x="170709" y="114293"/>
                  </a:lnTo>
                  <a:lnTo>
                    <a:pt x="167222" y="116482"/>
                  </a:lnTo>
                  <a:lnTo>
                    <a:pt x="161135" y="133853"/>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74" name="Freeform 172">
              <a:extLst>
                <a:ext uri="{FF2B5EF4-FFF2-40B4-BE49-F238E27FC236}">
                  <a16:creationId xmlns:a16="http://schemas.microsoft.com/office/drawing/2014/main" id="{39E4712F-BB0A-8148-B8D0-30C6FEE8C4F9}"/>
                </a:ext>
              </a:extLst>
            </p:cNvPr>
            <p:cNvSpPr>
              <a:spLocks noChangeAspect="1"/>
            </p:cNvSpPr>
            <p:nvPr>
              <p:custDataLst>
                <p:tags r:id="rId178"/>
              </p:custDataLst>
            </p:nvPr>
          </p:nvSpPr>
          <p:spPr>
            <a:xfrm>
              <a:off x="8452900" y="4900899"/>
              <a:ext cx="67439" cy="53871"/>
            </a:xfrm>
            <a:custGeom>
              <a:avLst/>
              <a:gdLst/>
              <a:ahLst/>
              <a:cxnLst/>
              <a:rect l="l" t="t" r="r" b="b"/>
              <a:pathLst>
                <a:path w="67439" h="53871">
                  <a:moveTo>
                    <a:pt x="25127" y="31292"/>
                  </a:moveTo>
                  <a:lnTo>
                    <a:pt x="33077" y="38156"/>
                  </a:lnTo>
                  <a:lnTo>
                    <a:pt x="29261" y="50594"/>
                  </a:lnTo>
                  <a:lnTo>
                    <a:pt x="14948" y="53871"/>
                  </a:lnTo>
                  <a:lnTo>
                    <a:pt x="2225" y="50921"/>
                  </a:lnTo>
                  <a:lnTo>
                    <a:pt x="0" y="40446"/>
                  </a:lnTo>
                  <a:lnTo>
                    <a:pt x="8905" y="32272"/>
                  </a:lnTo>
                  <a:lnTo>
                    <a:pt x="19401" y="35214"/>
                  </a:lnTo>
                  <a:close/>
                  <a:moveTo>
                    <a:pt x="67439" y="0"/>
                  </a:moveTo>
                  <a:lnTo>
                    <a:pt x="62669" y="12660"/>
                  </a:lnTo>
                  <a:lnTo>
                    <a:pt x="47991" y="18499"/>
                  </a:lnTo>
                  <a:lnTo>
                    <a:pt x="33239" y="23501"/>
                  </a:lnTo>
                  <a:lnTo>
                    <a:pt x="30279" y="14650"/>
                  </a:lnTo>
                  <a:lnTo>
                    <a:pt x="41816" y="9785"/>
                  </a:lnTo>
                  <a:lnTo>
                    <a:pt x="49131" y="8484"/>
                  </a:lnTo>
                  <a:lnTo>
                    <a:pt x="62669" y="1094"/>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75" name="Freeform 173">
              <a:extLst>
                <a:ext uri="{FF2B5EF4-FFF2-40B4-BE49-F238E27FC236}">
                  <a16:creationId xmlns:a16="http://schemas.microsoft.com/office/drawing/2014/main" id="{61B2D815-C656-E448-8394-8B35D637DE06}"/>
                </a:ext>
              </a:extLst>
            </p:cNvPr>
            <p:cNvSpPr>
              <a:spLocks noChangeAspect="1"/>
            </p:cNvSpPr>
            <p:nvPr>
              <p:custDataLst>
                <p:tags r:id="rId179"/>
              </p:custDataLst>
            </p:nvPr>
          </p:nvSpPr>
          <p:spPr>
            <a:xfrm>
              <a:off x="3102109" y="4394951"/>
              <a:ext cx="66177" cy="85615"/>
            </a:xfrm>
            <a:custGeom>
              <a:avLst/>
              <a:gdLst>
                <a:gd name="connsiteX0" fmla="*/ 13081 w 66177"/>
                <a:gd name="connsiteY0" fmla="*/ 0 h 85615"/>
                <a:gd name="connsiteX1" fmla="*/ 20920 w 66177"/>
                <a:gd name="connsiteY1" fmla="*/ 2547 h 85615"/>
                <a:gd name="connsiteX2" fmla="*/ 37916 w 66177"/>
                <a:gd name="connsiteY2" fmla="*/ 8027 h 85615"/>
                <a:gd name="connsiteX3" fmla="*/ 62356 w 66177"/>
                <a:gd name="connsiteY3" fmla="*/ 27558 h 85615"/>
                <a:gd name="connsiteX4" fmla="*/ 66177 w 66177"/>
                <a:gd name="connsiteY4" fmla="*/ 37029 h 85615"/>
                <a:gd name="connsiteX5" fmla="*/ 52523 w 66177"/>
                <a:gd name="connsiteY5" fmla="*/ 58181 h 85615"/>
                <a:gd name="connsiteX6" fmla="*/ 45435 w 66177"/>
                <a:gd name="connsiteY6" fmla="*/ 75192 h 85615"/>
                <a:gd name="connsiteX7" fmla="*/ 36589 w 66177"/>
                <a:gd name="connsiteY7" fmla="*/ 83965 h 85615"/>
                <a:gd name="connsiteX8" fmla="*/ 25536 w 66177"/>
                <a:gd name="connsiteY8" fmla="*/ 85615 h 85615"/>
                <a:gd name="connsiteX9" fmla="*/ 22388 w 66177"/>
                <a:gd name="connsiteY9" fmla="*/ 79114 h 85615"/>
                <a:gd name="connsiteX10" fmla="*/ 17225 w 66177"/>
                <a:gd name="connsiteY10" fmla="*/ 78149 h 85615"/>
                <a:gd name="connsiteX11" fmla="*/ 10080 w 66177"/>
                <a:gd name="connsiteY11" fmla="*/ 84411 h 85615"/>
                <a:gd name="connsiteX12" fmla="*/ 0 w 66177"/>
                <a:gd name="connsiteY12" fmla="*/ 79647 h 85615"/>
                <a:gd name="connsiteX13" fmla="*/ 5852 w 66177"/>
                <a:gd name="connsiteY13" fmla="*/ 69787 h 85615"/>
                <a:gd name="connsiteX14" fmla="*/ 7859 w 66177"/>
                <a:gd name="connsiteY14" fmla="*/ 59265 h 85615"/>
                <a:gd name="connsiteX15" fmla="*/ 11847 w 66177"/>
                <a:gd name="connsiteY15" fmla="*/ 49365 h 85615"/>
                <a:gd name="connsiteX16" fmla="*/ 2890 w 66177"/>
                <a:gd name="connsiteY16" fmla="*/ 35725 h 85615"/>
                <a:gd name="connsiteX17" fmla="*/ 1065 w 66177"/>
                <a:gd name="connsiteY17" fmla="*/ 19901 h 8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7" h="85615">
                  <a:moveTo>
                    <a:pt x="13081" y="0"/>
                  </a:moveTo>
                  <a:lnTo>
                    <a:pt x="20920" y="2547"/>
                  </a:lnTo>
                  <a:lnTo>
                    <a:pt x="37916" y="8027"/>
                  </a:lnTo>
                  <a:lnTo>
                    <a:pt x="62356" y="27558"/>
                  </a:lnTo>
                  <a:lnTo>
                    <a:pt x="66177" y="37029"/>
                  </a:lnTo>
                  <a:lnTo>
                    <a:pt x="52523" y="58181"/>
                  </a:lnTo>
                  <a:lnTo>
                    <a:pt x="45435" y="75192"/>
                  </a:lnTo>
                  <a:lnTo>
                    <a:pt x="36589" y="83965"/>
                  </a:lnTo>
                  <a:lnTo>
                    <a:pt x="25536" y="85615"/>
                  </a:lnTo>
                  <a:lnTo>
                    <a:pt x="22388" y="79114"/>
                  </a:lnTo>
                  <a:lnTo>
                    <a:pt x="17225" y="78149"/>
                  </a:lnTo>
                  <a:lnTo>
                    <a:pt x="10080" y="84411"/>
                  </a:lnTo>
                  <a:lnTo>
                    <a:pt x="0" y="79647"/>
                  </a:lnTo>
                  <a:lnTo>
                    <a:pt x="5852" y="69787"/>
                  </a:lnTo>
                  <a:lnTo>
                    <a:pt x="7859" y="59265"/>
                  </a:lnTo>
                  <a:lnTo>
                    <a:pt x="11847" y="49365"/>
                  </a:lnTo>
                  <a:lnTo>
                    <a:pt x="2890" y="35725"/>
                  </a:lnTo>
                  <a:lnTo>
                    <a:pt x="1065" y="1990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76" name="Freeform 174">
              <a:extLst>
                <a:ext uri="{FF2B5EF4-FFF2-40B4-BE49-F238E27FC236}">
                  <a16:creationId xmlns:a16="http://schemas.microsoft.com/office/drawing/2014/main" id="{1F2F851D-A81F-2944-BEE3-0AA265BD20F1}"/>
                </a:ext>
              </a:extLst>
            </p:cNvPr>
            <p:cNvSpPr>
              <a:spLocks noChangeAspect="1"/>
            </p:cNvSpPr>
            <p:nvPr>
              <p:custDataLst>
                <p:tags r:id="rId180"/>
              </p:custDataLst>
            </p:nvPr>
          </p:nvSpPr>
          <p:spPr>
            <a:xfrm>
              <a:off x="2948028" y="5822557"/>
              <a:ext cx="79635" cy="36905"/>
            </a:xfrm>
            <a:custGeom>
              <a:avLst/>
              <a:gdLst>
                <a:gd name="connsiteX0" fmla="*/ 61169 w 79635"/>
                <a:gd name="connsiteY0" fmla="*/ 0 h 36905"/>
                <a:gd name="connsiteX1" fmla="*/ 79635 w 79635"/>
                <a:gd name="connsiteY1" fmla="*/ 13776 h 36905"/>
                <a:gd name="connsiteX2" fmla="*/ 72710 w 79635"/>
                <a:gd name="connsiteY2" fmla="*/ 24543 h 36905"/>
                <a:gd name="connsiteX3" fmla="*/ 41548 w 79635"/>
                <a:gd name="connsiteY3" fmla="*/ 33809 h 36905"/>
                <a:gd name="connsiteX4" fmla="*/ 31161 w 79635"/>
                <a:gd name="connsiteY4" fmla="*/ 23002 h 36905"/>
                <a:gd name="connsiteX5" fmla="*/ 11541 w 79635"/>
                <a:gd name="connsiteY5" fmla="*/ 36905 h 36905"/>
                <a:gd name="connsiteX6" fmla="*/ 0 w 79635"/>
                <a:gd name="connsiteY6" fmla="*/ 23002 h 36905"/>
                <a:gd name="connsiteX7" fmla="*/ 27699 w 79635"/>
                <a:gd name="connsiteY7" fmla="*/ 4584 h 36905"/>
                <a:gd name="connsiteX8" fmla="*/ 47319 w 79635"/>
                <a:gd name="connsiteY8" fmla="*/ 12241 h 3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635" h="36905">
                  <a:moveTo>
                    <a:pt x="61169" y="0"/>
                  </a:moveTo>
                  <a:lnTo>
                    <a:pt x="79635" y="13776"/>
                  </a:lnTo>
                  <a:lnTo>
                    <a:pt x="72710" y="24543"/>
                  </a:lnTo>
                  <a:lnTo>
                    <a:pt x="41548" y="33809"/>
                  </a:lnTo>
                  <a:lnTo>
                    <a:pt x="31161" y="23002"/>
                  </a:lnTo>
                  <a:lnTo>
                    <a:pt x="11541" y="36905"/>
                  </a:lnTo>
                  <a:lnTo>
                    <a:pt x="0" y="23002"/>
                  </a:lnTo>
                  <a:lnTo>
                    <a:pt x="27699" y="4584"/>
                  </a:lnTo>
                  <a:lnTo>
                    <a:pt x="47319" y="12241"/>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sp>
          <p:nvSpPr>
            <p:cNvPr id="177" name="Freeform 175">
              <a:extLst>
                <a:ext uri="{FF2B5EF4-FFF2-40B4-BE49-F238E27FC236}">
                  <a16:creationId xmlns:a16="http://schemas.microsoft.com/office/drawing/2014/main" id="{9DD208AA-05D0-FA4A-8EA8-65CF4C0D9F49}"/>
                </a:ext>
              </a:extLst>
            </p:cNvPr>
            <p:cNvSpPr>
              <a:spLocks noChangeAspect="1"/>
            </p:cNvSpPr>
            <p:nvPr>
              <p:custDataLst>
                <p:tags r:id="rId181"/>
              </p:custDataLst>
            </p:nvPr>
          </p:nvSpPr>
          <p:spPr>
            <a:xfrm>
              <a:off x="2668795" y="1901766"/>
              <a:ext cx="1410084" cy="1042076"/>
            </a:xfrm>
            <a:custGeom>
              <a:avLst/>
              <a:gdLst>
                <a:gd name="connsiteX0" fmla="*/ 881969 w 1410084"/>
                <a:gd name="connsiteY0" fmla="*/ 0 h 1042076"/>
                <a:gd name="connsiteX1" fmla="*/ 1066339 w 1410084"/>
                <a:gd name="connsiteY1" fmla="*/ 7371 h 1042076"/>
                <a:gd name="connsiteX2" fmla="*/ 1210723 w 1410084"/>
                <a:gd name="connsiteY2" fmla="*/ 53274 h 1042076"/>
                <a:gd name="connsiteX3" fmla="*/ 1168102 w 1410084"/>
                <a:gd name="connsiteY3" fmla="*/ 75149 h 1042076"/>
                <a:gd name="connsiteX4" fmla="*/ 1079795 w 1410084"/>
                <a:gd name="connsiteY4" fmla="*/ 77632 h 1042076"/>
                <a:gd name="connsiteX5" fmla="*/ 955553 w 1410084"/>
                <a:gd name="connsiteY5" fmla="*/ 83131 h 1042076"/>
                <a:gd name="connsiteX6" fmla="*/ 967176 w 1410084"/>
                <a:gd name="connsiteY6" fmla="*/ 93137 h 1042076"/>
                <a:gd name="connsiteX7" fmla="*/ 1048884 w 1410084"/>
                <a:gd name="connsiteY7" fmla="*/ 86962 h 1042076"/>
                <a:gd name="connsiteX8" fmla="*/ 1118414 w 1410084"/>
                <a:gd name="connsiteY8" fmla="*/ 106205 h 1042076"/>
                <a:gd name="connsiteX9" fmla="*/ 1163222 w 1410084"/>
                <a:gd name="connsiteY9" fmla="*/ 89127 h 1042076"/>
                <a:gd name="connsiteX10" fmla="*/ 1182415 w 1410084"/>
                <a:gd name="connsiteY10" fmla="*/ 109116 h 1042076"/>
                <a:gd name="connsiteX11" fmla="*/ 1157074 w 1410084"/>
                <a:gd name="connsiteY11" fmla="*/ 141078 h 1042076"/>
                <a:gd name="connsiteX12" fmla="*/ 1215842 w 1410084"/>
                <a:gd name="connsiteY12" fmla="*/ 120711 h 1042076"/>
                <a:gd name="connsiteX13" fmla="*/ 1327919 w 1410084"/>
                <a:gd name="connsiteY13" fmla="*/ 99226 h 1042076"/>
                <a:gd name="connsiteX14" fmla="*/ 1397121 w 1410084"/>
                <a:gd name="connsiteY14" fmla="*/ 109983 h 1042076"/>
                <a:gd name="connsiteX15" fmla="*/ 1410084 w 1410084"/>
                <a:gd name="connsiteY15" fmla="*/ 133502 h 1042076"/>
                <a:gd name="connsiteX16" fmla="*/ 1315981 w 1410084"/>
                <a:gd name="connsiteY16" fmla="*/ 172003 h 1042076"/>
                <a:gd name="connsiteX17" fmla="*/ 1302947 w 1410084"/>
                <a:gd name="connsiteY17" fmla="*/ 184279 h 1042076"/>
                <a:gd name="connsiteX18" fmla="*/ 1229170 w 1410084"/>
                <a:gd name="connsiteY18" fmla="*/ 193454 h 1042076"/>
                <a:gd name="connsiteX19" fmla="*/ 1282626 w 1410084"/>
                <a:gd name="connsiteY19" fmla="*/ 195990 h 1042076"/>
                <a:gd name="connsiteX20" fmla="*/ 1255628 w 1410084"/>
                <a:gd name="connsiteY20" fmla="*/ 234127 h 1042076"/>
                <a:gd name="connsiteX21" fmla="*/ 1237047 w 1410084"/>
                <a:gd name="connsiteY21" fmla="*/ 267409 h 1042076"/>
                <a:gd name="connsiteX22" fmla="*/ 1237773 w 1410084"/>
                <a:gd name="connsiteY22" fmla="*/ 323141 h 1042076"/>
                <a:gd name="connsiteX23" fmla="*/ 1265487 w 1410084"/>
                <a:gd name="connsiteY23" fmla="*/ 355088 h 1042076"/>
                <a:gd name="connsiteX24" fmla="*/ 1229428 w 1410084"/>
                <a:gd name="connsiteY24" fmla="*/ 357091 h 1042076"/>
                <a:gd name="connsiteX25" fmla="*/ 1191471 w 1410084"/>
                <a:gd name="connsiteY25" fmla="*/ 372362 h 1042076"/>
                <a:gd name="connsiteX26" fmla="*/ 1234067 w 1410084"/>
                <a:gd name="connsiteY26" fmla="*/ 397662 h 1042076"/>
                <a:gd name="connsiteX27" fmla="*/ 1239494 w 1410084"/>
                <a:gd name="connsiteY27" fmla="*/ 437542 h 1042076"/>
                <a:gd name="connsiteX28" fmla="*/ 1214813 w 1410084"/>
                <a:gd name="connsiteY28" fmla="*/ 441834 h 1042076"/>
                <a:gd name="connsiteX29" fmla="*/ 1244714 w 1410084"/>
                <a:gd name="connsiteY29" fmla="*/ 481288 h 1042076"/>
                <a:gd name="connsiteX30" fmla="*/ 1193438 w 1410084"/>
                <a:gd name="connsiteY30" fmla="*/ 484544 h 1042076"/>
                <a:gd name="connsiteX31" fmla="*/ 1220207 w 1410084"/>
                <a:gd name="connsiteY31" fmla="*/ 502886 h 1042076"/>
                <a:gd name="connsiteX32" fmla="*/ 1212640 w 1410084"/>
                <a:gd name="connsiteY32" fmla="*/ 518656 h 1042076"/>
                <a:gd name="connsiteX33" fmla="*/ 1180097 w 1410084"/>
                <a:gd name="connsiteY33" fmla="*/ 525537 h 1042076"/>
                <a:gd name="connsiteX34" fmla="*/ 1147926 w 1410084"/>
                <a:gd name="connsiteY34" fmla="*/ 525666 h 1042076"/>
                <a:gd name="connsiteX35" fmla="*/ 1176844 w 1410084"/>
                <a:gd name="connsiteY35" fmla="*/ 555484 h 1042076"/>
                <a:gd name="connsiteX36" fmla="*/ 1177157 w 1410084"/>
                <a:gd name="connsiteY36" fmla="*/ 574836 h 1042076"/>
                <a:gd name="connsiteX37" fmla="*/ 1131481 w 1410084"/>
                <a:gd name="connsiteY37" fmla="*/ 556856 h 1042076"/>
                <a:gd name="connsiteX38" fmla="*/ 1119603 w 1410084"/>
                <a:gd name="connsiteY38" fmla="*/ 568506 h 1042076"/>
                <a:gd name="connsiteX39" fmla="*/ 1150764 w 1410084"/>
                <a:gd name="connsiteY39" fmla="*/ 579326 h 1042076"/>
                <a:gd name="connsiteX40" fmla="*/ 1181006 w 1410084"/>
                <a:gd name="connsiteY40" fmla="*/ 605526 h 1042076"/>
                <a:gd name="connsiteX41" fmla="*/ 1189760 w 1410084"/>
                <a:gd name="connsiteY41" fmla="*/ 639522 h 1042076"/>
                <a:gd name="connsiteX42" fmla="*/ 1148616 w 1410084"/>
                <a:gd name="connsiteY42" fmla="*/ 647571 h 1042076"/>
                <a:gd name="connsiteX43" fmla="*/ 1130819 w 1410084"/>
                <a:gd name="connsiteY43" fmla="*/ 631436 h 1042076"/>
                <a:gd name="connsiteX44" fmla="*/ 1102280 w 1410084"/>
                <a:gd name="connsiteY44" fmla="*/ 607145 h 1042076"/>
                <a:gd name="connsiteX45" fmla="*/ 1110176 w 1410084"/>
                <a:gd name="connsiteY45" fmla="*/ 635811 h 1042076"/>
                <a:gd name="connsiteX46" fmla="*/ 1083367 w 1410084"/>
                <a:gd name="connsiteY46" fmla="*/ 657738 h 1042076"/>
                <a:gd name="connsiteX47" fmla="*/ 1144198 w 1410084"/>
                <a:gd name="connsiteY47" fmla="*/ 659498 h 1042076"/>
                <a:gd name="connsiteX48" fmla="*/ 1176015 w 1410084"/>
                <a:gd name="connsiteY48" fmla="*/ 661757 h 1042076"/>
                <a:gd name="connsiteX49" fmla="*/ 1114148 w 1410084"/>
                <a:gd name="connsiteY49" fmla="*/ 697473 h 1042076"/>
                <a:gd name="connsiteX50" fmla="*/ 1051407 w 1410084"/>
                <a:gd name="connsiteY50" fmla="*/ 729271 h 1042076"/>
                <a:gd name="connsiteX51" fmla="*/ 983859 w 1410084"/>
                <a:gd name="connsiteY51" fmla="*/ 743049 h 1042076"/>
                <a:gd name="connsiteX52" fmla="*/ 958400 w 1410084"/>
                <a:gd name="connsiteY52" fmla="*/ 743218 h 1042076"/>
                <a:gd name="connsiteX53" fmla="*/ 934524 w 1410084"/>
                <a:gd name="connsiteY53" fmla="*/ 758475 h 1042076"/>
                <a:gd name="connsiteX54" fmla="*/ 902418 w 1410084"/>
                <a:gd name="connsiteY54" fmla="*/ 799705 h 1042076"/>
                <a:gd name="connsiteX55" fmla="*/ 852770 w 1410084"/>
                <a:gd name="connsiteY55" fmla="*/ 826626 h 1042076"/>
                <a:gd name="connsiteX56" fmla="*/ 836821 w 1410084"/>
                <a:gd name="connsiteY56" fmla="*/ 828198 h 1042076"/>
                <a:gd name="connsiteX57" fmla="*/ 806092 w 1410084"/>
                <a:gd name="connsiteY57" fmla="*/ 837541 h 1042076"/>
                <a:gd name="connsiteX58" fmla="*/ 772918 w 1410084"/>
                <a:gd name="connsiteY58" fmla="*/ 846392 h 1042076"/>
                <a:gd name="connsiteX59" fmla="*/ 753141 w 1410084"/>
                <a:gd name="connsiteY59" fmla="*/ 869644 h 1042076"/>
                <a:gd name="connsiteX60" fmla="*/ 752822 w 1410084"/>
                <a:gd name="connsiteY60" fmla="*/ 895688 h 1042076"/>
                <a:gd name="connsiteX61" fmla="*/ 741145 w 1410084"/>
                <a:gd name="connsiteY61" fmla="*/ 919795 h 1042076"/>
                <a:gd name="connsiteX62" fmla="*/ 703505 w 1410084"/>
                <a:gd name="connsiteY62" fmla="*/ 948811 h 1042076"/>
                <a:gd name="connsiteX63" fmla="*/ 712800 w 1410084"/>
                <a:gd name="connsiteY63" fmla="*/ 976775 h 1042076"/>
                <a:gd name="connsiteX64" fmla="*/ 702424 w 1410084"/>
                <a:gd name="connsiteY64" fmla="*/ 1005980 h 1042076"/>
                <a:gd name="connsiteX65" fmla="*/ 690601 w 1410084"/>
                <a:gd name="connsiteY65" fmla="*/ 1039971 h 1042076"/>
                <a:gd name="connsiteX66" fmla="*/ 658075 w 1410084"/>
                <a:gd name="connsiteY66" fmla="*/ 1042076 h 1042076"/>
                <a:gd name="connsiteX67" fmla="*/ 624002 w 1410084"/>
                <a:gd name="connsiteY67" fmla="*/ 1013712 h 1042076"/>
                <a:gd name="connsiteX68" fmla="*/ 577853 w 1410084"/>
                <a:gd name="connsiteY68" fmla="*/ 1013532 h 1042076"/>
                <a:gd name="connsiteX69" fmla="*/ 555459 w 1410084"/>
                <a:gd name="connsiteY69" fmla="*/ 994274 h 1042076"/>
                <a:gd name="connsiteX70" fmla="*/ 540056 w 1410084"/>
                <a:gd name="connsiteY70" fmla="*/ 959553 h 1042076"/>
                <a:gd name="connsiteX71" fmla="*/ 500057 w 1410084"/>
                <a:gd name="connsiteY71" fmla="*/ 914515 h 1042076"/>
                <a:gd name="connsiteX72" fmla="*/ 488356 w 1410084"/>
                <a:gd name="connsiteY72" fmla="*/ 890534 h 1042076"/>
                <a:gd name="connsiteX73" fmla="*/ 485207 w 1410084"/>
                <a:gd name="connsiteY73" fmla="*/ 857018 h 1042076"/>
                <a:gd name="connsiteX74" fmla="*/ 453236 w 1410084"/>
                <a:gd name="connsiteY74" fmla="*/ 822015 h 1042076"/>
                <a:gd name="connsiteX75" fmla="*/ 461547 w 1410084"/>
                <a:gd name="connsiteY75" fmla="*/ 793635 h 1042076"/>
                <a:gd name="connsiteX76" fmla="*/ 446139 w 1410084"/>
                <a:gd name="connsiteY76" fmla="*/ 779920 h 1042076"/>
                <a:gd name="connsiteX77" fmla="*/ 468961 w 1410084"/>
                <a:gd name="connsiteY77" fmla="*/ 733784 h 1042076"/>
                <a:gd name="connsiteX78" fmla="*/ 503701 w 1410084"/>
                <a:gd name="connsiteY78" fmla="*/ 718874 h 1042076"/>
                <a:gd name="connsiteX79" fmla="*/ 512818 w 1410084"/>
                <a:gd name="connsiteY79" fmla="*/ 701980 h 1042076"/>
                <a:gd name="connsiteX80" fmla="*/ 517647 w 1410084"/>
                <a:gd name="connsiteY80" fmla="*/ 670033 h 1042076"/>
                <a:gd name="connsiteX81" fmla="*/ 491278 w 1410084"/>
                <a:gd name="connsiteY81" fmla="*/ 684578 h 1042076"/>
                <a:gd name="connsiteX82" fmla="*/ 478713 w 1410084"/>
                <a:gd name="connsiteY82" fmla="*/ 690656 h 1042076"/>
                <a:gd name="connsiteX83" fmla="*/ 457976 w 1410084"/>
                <a:gd name="connsiteY83" fmla="*/ 696463 h 1042076"/>
                <a:gd name="connsiteX84" fmla="*/ 429652 w 1410084"/>
                <a:gd name="connsiteY84" fmla="*/ 683141 h 1042076"/>
                <a:gd name="connsiteX85" fmla="*/ 428114 w 1410084"/>
                <a:gd name="connsiteY85" fmla="*/ 655130 h 1042076"/>
                <a:gd name="connsiteX86" fmla="*/ 437143 w 1410084"/>
                <a:gd name="connsiteY86" fmla="*/ 632914 h 1042076"/>
                <a:gd name="connsiteX87" fmla="*/ 458553 w 1410084"/>
                <a:gd name="connsiteY87" fmla="*/ 632307 h 1042076"/>
                <a:gd name="connsiteX88" fmla="*/ 505669 w 1410084"/>
                <a:gd name="connsiteY88" fmla="*/ 643449 h 1042076"/>
                <a:gd name="connsiteX89" fmla="*/ 465984 w 1410084"/>
                <a:gd name="connsiteY89" fmla="*/ 616741 h 1042076"/>
                <a:gd name="connsiteX90" fmla="*/ 445329 w 1410084"/>
                <a:gd name="connsiteY90" fmla="*/ 602193 h 1042076"/>
                <a:gd name="connsiteX91" fmla="*/ 422343 w 1410084"/>
                <a:gd name="connsiteY91" fmla="*/ 608183 h 1042076"/>
                <a:gd name="connsiteX92" fmla="*/ 403077 w 1410084"/>
                <a:gd name="connsiteY92" fmla="*/ 597612 h 1042076"/>
                <a:gd name="connsiteX93" fmla="*/ 428848 w 1410084"/>
                <a:gd name="connsiteY93" fmla="*/ 557363 h 1042076"/>
                <a:gd name="connsiteX94" fmla="*/ 414811 w 1410084"/>
                <a:gd name="connsiteY94" fmla="*/ 541044 h 1042076"/>
                <a:gd name="connsiteX95" fmla="*/ 396490 w 1410084"/>
                <a:gd name="connsiteY95" fmla="*/ 510384 h 1042076"/>
                <a:gd name="connsiteX96" fmla="*/ 368708 w 1410084"/>
                <a:gd name="connsiteY96" fmla="*/ 462372 h 1042076"/>
                <a:gd name="connsiteX97" fmla="*/ 339320 w 1410084"/>
                <a:gd name="connsiteY97" fmla="*/ 444485 h 1042076"/>
                <a:gd name="connsiteX98" fmla="*/ 339588 w 1410084"/>
                <a:gd name="connsiteY98" fmla="*/ 425012 h 1042076"/>
                <a:gd name="connsiteX99" fmla="*/ 277647 w 1410084"/>
                <a:gd name="connsiteY99" fmla="*/ 397458 h 1042076"/>
                <a:gd name="connsiteX100" fmla="*/ 228642 w 1410084"/>
                <a:gd name="connsiteY100" fmla="*/ 394001 h 1042076"/>
                <a:gd name="connsiteX101" fmla="*/ 166950 w 1410084"/>
                <a:gd name="connsiteY101" fmla="*/ 395917 h 1042076"/>
                <a:gd name="connsiteX102" fmla="*/ 110626 w 1410084"/>
                <a:gd name="connsiteY102" fmla="*/ 399401 h 1042076"/>
                <a:gd name="connsiteX103" fmla="*/ 83839 w 1410084"/>
                <a:gd name="connsiteY103" fmla="*/ 384255 h 1042076"/>
                <a:gd name="connsiteX104" fmla="*/ 43728 w 1410084"/>
                <a:gd name="connsiteY104" fmla="*/ 353976 h 1042076"/>
                <a:gd name="connsiteX105" fmla="*/ 104340 w 1410084"/>
                <a:gd name="connsiteY105" fmla="*/ 338644 h 1042076"/>
                <a:gd name="connsiteX106" fmla="*/ 150799 w 1410084"/>
                <a:gd name="connsiteY106" fmla="*/ 336057 h 1042076"/>
                <a:gd name="connsiteX107" fmla="*/ 52030 w 1410084"/>
                <a:gd name="connsiteY107" fmla="*/ 323272 h 1042076"/>
                <a:gd name="connsiteX108" fmla="*/ 0 w 1410084"/>
                <a:gd name="connsiteY108" fmla="*/ 303018 h 1042076"/>
                <a:gd name="connsiteX109" fmla="*/ 3176 w 1410084"/>
                <a:gd name="connsiteY109" fmla="*/ 283537 h 1042076"/>
                <a:gd name="connsiteX110" fmla="*/ 90566 w 1410084"/>
                <a:gd name="connsiteY110" fmla="*/ 259123 h 1042076"/>
                <a:gd name="connsiteX111" fmla="*/ 175112 w 1410084"/>
                <a:gd name="connsiteY111" fmla="*/ 234419 h 1042076"/>
                <a:gd name="connsiteX112" fmla="*/ 184040 w 1410084"/>
                <a:gd name="connsiteY112" fmla="*/ 215493 h 1042076"/>
                <a:gd name="connsiteX113" fmla="*/ 121738 w 1410084"/>
                <a:gd name="connsiteY113" fmla="*/ 196620 h 1042076"/>
                <a:gd name="connsiteX114" fmla="*/ 141859 w 1410084"/>
                <a:gd name="connsiteY114" fmla="*/ 175438 h 1042076"/>
                <a:gd name="connsiteX115" fmla="*/ 221772 w 1410084"/>
                <a:gd name="connsiteY115" fmla="*/ 137740 h 1042076"/>
                <a:gd name="connsiteX116" fmla="*/ 255353 w 1410084"/>
                <a:gd name="connsiteY116" fmla="*/ 131885 h 1042076"/>
                <a:gd name="connsiteX117" fmla="*/ 245734 w 1410084"/>
                <a:gd name="connsiteY117" fmla="*/ 107124 h 1042076"/>
                <a:gd name="connsiteX118" fmla="*/ 300409 w 1410084"/>
                <a:gd name="connsiteY118" fmla="*/ 92461 h 1042076"/>
                <a:gd name="connsiteX119" fmla="*/ 371390 w 1410084"/>
                <a:gd name="connsiteY119" fmla="*/ 83651 h 1042076"/>
                <a:gd name="connsiteX120" fmla="*/ 442323 w 1410084"/>
                <a:gd name="connsiteY120" fmla="*/ 83152 h 1042076"/>
                <a:gd name="connsiteX121" fmla="*/ 467509 w 1410084"/>
                <a:gd name="connsiteY121" fmla="*/ 100570 h 1042076"/>
                <a:gd name="connsiteX122" fmla="*/ 528740 w 1410084"/>
                <a:gd name="connsiteY122" fmla="*/ 69654 h 1042076"/>
                <a:gd name="connsiteX123" fmla="*/ 583833 w 1410084"/>
                <a:gd name="connsiteY123" fmla="*/ 90716 h 1042076"/>
                <a:gd name="connsiteX124" fmla="*/ 616241 w 1410084"/>
                <a:gd name="connsiteY124" fmla="*/ 95126 h 1042076"/>
                <a:gd name="connsiteX125" fmla="*/ 664180 w 1410084"/>
                <a:gd name="connsiteY125" fmla="*/ 113202 h 1042076"/>
                <a:gd name="connsiteX126" fmla="*/ 609297 w 1410084"/>
                <a:gd name="connsiteY126" fmla="*/ 83143 h 1042076"/>
                <a:gd name="connsiteX127" fmla="*/ 612457 w 1410084"/>
                <a:gd name="connsiteY127" fmla="*/ 58909 h 1042076"/>
                <a:gd name="connsiteX128" fmla="*/ 689954 w 1410084"/>
                <a:gd name="connsiteY128" fmla="*/ 24556 h 1042076"/>
                <a:gd name="connsiteX129" fmla="*/ 770949 w 1410084"/>
                <a:gd name="connsiteY129" fmla="*/ 27166 h 1042076"/>
                <a:gd name="connsiteX130" fmla="*/ 800388 w 1410084"/>
                <a:gd name="connsiteY130" fmla="*/ 5647 h 104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410084" h="1042076">
                  <a:moveTo>
                    <a:pt x="881969" y="0"/>
                  </a:moveTo>
                  <a:lnTo>
                    <a:pt x="1066339" y="7371"/>
                  </a:lnTo>
                  <a:lnTo>
                    <a:pt x="1210723" y="53274"/>
                  </a:lnTo>
                  <a:lnTo>
                    <a:pt x="1168102" y="75149"/>
                  </a:lnTo>
                  <a:lnTo>
                    <a:pt x="1079795" y="77632"/>
                  </a:lnTo>
                  <a:lnTo>
                    <a:pt x="955553" y="83131"/>
                  </a:lnTo>
                  <a:lnTo>
                    <a:pt x="967176" y="93137"/>
                  </a:lnTo>
                  <a:lnTo>
                    <a:pt x="1048884" y="86962"/>
                  </a:lnTo>
                  <a:lnTo>
                    <a:pt x="1118414" y="106205"/>
                  </a:lnTo>
                  <a:lnTo>
                    <a:pt x="1163222" y="89127"/>
                  </a:lnTo>
                  <a:lnTo>
                    <a:pt x="1182415" y="109116"/>
                  </a:lnTo>
                  <a:lnTo>
                    <a:pt x="1157074" y="141078"/>
                  </a:lnTo>
                  <a:lnTo>
                    <a:pt x="1215842" y="120711"/>
                  </a:lnTo>
                  <a:lnTo>
                    <a:pt x="1327919" y="99226"/>
                  </a:lnTo>
                  <a:lnTo>
                    <a:pt x="1397121" y="109983"/>
                  </a:lnTo>
                  <a:lnTo>
                    <a:pt x="1410084" y="133502"/>
                  </a:lnTo>
                  <a:lnTo>
                    <a:pt x="1315981" y="172003"/>
                  </a:lnTo>
                  <a:lnTo>
                    <a:pt x="1302947" y="184279"/>
                  </a:lnTo>
                  <a:lnTo>
                    <a:pt x="1229170" y="193454"/>
                  </a:lnTo>
                  <a:lnTo>
                    <a:pt x="1282626" y="195990"/>
                  </a:lnTo>
                  <a:lnTo>
                    <a:pt x="1255628" y="234127"/>
                  </a:lnTo>
                  <a:lnTo>
                    <a:pt x="1237047" y="267409"/>
                  </a:lnTo>
                  <a:lnTo>
                    <a:pt x="1237773" y="323141"/>
                  </a:lnTo>
                  <a:lnTo>
                    <a:pt x="1265487" y="355088"/>
                  </a:lnTo>
                  <a:lnTo>
                    <a:pt x="1229428" y="357091"/>
                  </a:lnTo>
                  <a:lnTo>
                    <a:pt x="1191471" y="372362"/>
                  </a:lnTo>
                  <a:lnTo>
                    <a:pt x="1234067" y="397662"/>
                  </a:lnTo>
                  <a:lnTo>
                    <a:pt x="1239494" y="437542"/>
                  </a:lnTo>
                  <a:lnTo>
                    <a:pt x="1214813" y="441834"/>
                  </a:lnTo>
                  <a:lnTo>
                    <a:pt x="1244714" y="481288"/>
                  </a:lnTo>
                  <a:lnTo>
                    <a:pt x="1193438" y="484544"/>
                  </a:lnTo>
                  <a:lnTo>
                    <a:pt x="1220207" y="502886"/>
                  </a:lnTo>
                  <a:lnTo>
                    <a:pt x="1212640" y="518656"/>
                  </a:lnTo>
                  <a:lnTo>
                    <a:pt x="1180097" y="525537"/>
                  </a:lnTo>
                  <a:lnTo>
                    <a:pt x="1147926" y="525666"/>
                  </a:lnTo>
                  <a:lnTo>
                    <a:pt x="1176844" y="555484"/>
                  </a:lnTo>
                  <a:lnTo>
                    <a:pt x="1177157" y="574836"/>
                  </a:lnTo>
                  <a:lnTo>
                    <a:pt x="1131481" y="556856"/>
                  </a:lnTo>
                  <a:lnTo>
                    <a:pt x="1119603" y="568506"/>
                  </a:lnTo>
                  <a:lnTo>
                    <a:pt x="1150764" y="579326"/>
                  </a:lnTo>
                  <a:lnTo>
                    <a:pt x="1181006" y="605526"/>
                  </a:lnTo>
                  <a:lnTo>
                    <a:pt x="1189760" y="639522"/>
                  </a:lnTo>
                  <a:lnTo>
                    <a:pt x="1148616" y="647571"/>
                  </a:lnTo>
                  <a:lnTo>
                    <a:pt x="1130819" y="631436"/>
                  </a:lnTo>
                  <a:lnTo>
                    <a:pt x="1102280" y="607145"/>
                  </a:lnTo>
                  <a:lnTo>
                    <a:pt x="1110176" y="635811"/>
                  </a:lnTo>
                  <a:lnTo>
                    <a:pt x="1083367" y="657738"/>
                  </a:lnTo>
                  <a:lnTo>
                    <a:pt x="1144198" y="659498"/>
                  </a:lnTo>
                  <a:lnTo>
                    <a:pt x="1176015" y="661757"/>
                  </a:lnTo>
                  <a:lnTo>
                    <a:pt x="1114148" y="697473"/>
                  </a:lnTo>
                  <a:lnTo>
                    <a:pt x="1051407" y="729271"/>
                  </a:lnTo>
                  <a:lnTo>
                    <a:pt x="983859" y="743049"/>
                  </a:lnTo>
                  <a:lnTo>
                    <a:pt x="958400" y="743218"/>
                  </a:lnTo>
                  <a:lnTo>
                    <a:pt x="934524" y="758475"/>
                  </a:lnTo>
                  <a:lnTo>
                    <a:pt x="902418" y="799705"/>
                  </a:lnTo>
                  <a:lnTo>
                    <a:pt x="852770" y="826626"/>
                  </a:lnTo>
                  <a:lnTo>
                    <a:pt x="836821" y="828198"/>
                  </a:lnTo>
                  <a:lnTo>
                    <a:pt x="806092" y="837541"/>
                  </a:lnTo>
                  <a:lnTo>
                    <a:pt x="772918" y="846392"/>
                  </a:lnTo>
                  <a:lnTo>
                    <a:pt x="753141" y="869644"/>
                  </a:lnTo>
                  <a:lnTo>
                    <a:pt x="752822" y="895688"/>
                  </a:lnTo>
                  <a:lnTo>
                    <a:pt x="741145" y="919795"/>
                  </a:lnTo>
                  <a:lnTo>
                    <a:pt x="703505" y="948811"/>
                  </a:lnTo>
                  <a:lnTo>
                    <a:pt x="712800" y="976775"/>
                  </a:lnTo>
                  <a:lnTo>
                    <a:pt x="702424" y="1005980"/>
                  </a:lnTo>
                  <a:lnTo>
                    <a:pt x="690601" y="1039971"/>
                  </a:lnTo>
                  <a:lnTo>
                    <a:pt x="658075" y="1042076"/>
                  </a:lnTo>
                  <a:lnTo>
                    <a:pt x="624002" y="1013712"/>
                  </a:lnTo>
                  <a:lnTo>
                    <a:pt x="577853" y="1013532"/>
                  </a:lnTo>
                  <a:lnTo>
                    <a:pt x="555459" y="994274"/>
                  </a:lnTo>
                  <a:lnTo>
                    <a:pt x="540056" y="959553"/>
                  </a:lnTo>
                  <a:lnTo>
                    <a:pt x="500057" y="914515"/>
                  </a:lnTo>
                  <a:lnTo>
                    <a:pt x="488356" y="890534"/>
                  </a:lnTo>
                  <a:lnTo>
                    <a:pt x="485207" y="857018"/>
                  </a:lnTo>
                  <a:lnTo>
                    <a:pt x="453236" y="822015"/>
                  </a:lnTo>
                  <a:lnTo>
                    <a:pt x="461547" y="793635"/>
                  </a:lnTo>
                  <a:lnTo>
                    <a:pt x="446139" y="779920"/>
                  </a:lnTo>
                  <a:lnTo>
                    <a:pt x="468961" y="733784"/>
                  </a:lnTo>
                  <a:lnTo>
                    <a:pt x="503701" y="718874"/>
                  </a:lnTo>
                  <a:lnTo>
                    <a:pt x="512818" y="701980"/>
                  </a:lnTo>
                  <a:lnTo>
                    <a:pt x="517647" y="670033"/>
                  </a:lnTo>
                  <a:lnTo>
                    <a:pt x="491278" y="684578"/>
                  </a:lnTo>
                  <a:lnTo>
                    <a:pt x="478713" y="690656"/>
                  </a:lnTo>
                  <a:lnTo>
                    <a:pt x="457976" y="696463"/>
                  </a:lnTo>
                  <a:lnTo>
                    <a:pt x="429652" y="683141"/>
                  </a:lnTo>
                  <a:lnTo>
                    <a:pt x="428114" y="655130"/>
                  </a:lnTo>
                  <a:lnTo>
                    <a:pt x="437143" y="632914"/>
                  </a:lnTo>
                  <a:lnTo>
                    <a:pt x="458553" y="632307"/>
                  </a:lnTo>
                  <a:lnTo>
                    <a:pt x="505669" y="643449"/>
                  </a:lnTo>
                  <a:lnTo>
                    <a:pt x="465984" y="616741"/>
                  </a:lnTo>
                  <a:lnTo>
                    <a:pt x="445329" y="602193"/>
                  </a:lnTo>
                  <a:lnTo>
                    <a:pt x="422343" y="608183"/>
                  </a:lnTo>
                  <a:lnTo>
                    <a:pt x="403077" y="597612"/>
                  </a:lnTo>
                  <a:lnTo>
                    <a:pt x="428848" y="557363"/>
                  </a:lnTo>
                  <a:lnTo>
                    <a:pt x="414811" y="541044"/>
                  </a:lnTo>
                  <a:lnTo>
                    <a:pt x="396490" y="510384"/>
                  </a:lnTo>
                  <a:lnTo>
                    <a:pt x="368708" y="462372"/>
                  </a:lnTo>
                  <a:lnTo>
                    <a:pt x="339320" y="444485"/>
                  </a:lnTo>
                  <a:lnTo>
                    <a:pt x="339588" y="425012"/>
                  </a:lnTo>
                  <a:lnTo>
                    <a:pt x="277647" y="397458"/>
                  </a:lnTo>
                  <a:lnTo>
                    <a:pt x="228642" y="394001"/>
                  </a:lnTo>
                  <a:lnTo>
                    <a:pt x="166950" y="395917"/>
                  </a:lnTo>
                  <a:lnTo>
                    <a:pt x="110626" y="399401"/>
                  </a:lnTo>
                  <a:lnTo>
                    <a:pt x="83839" y="384255"/>
                  </a:lnTo>
                  <a:lnTo>
                    <a:pt x="43728" y="353976"/>
                  </a:lnTo>
                  <a:lnTo>
                    <a:pt x="104340" y="338644"/>
                  </a:lnTo>
                  <a:lnTo>
                    <a:pt x="150799" y="336057"/>
                  </a:lnTo>
                  <a:lnTo>
                    <a:pt x="52030" y="323272"/>
                  </a:lnTo>
                  <a:lnTo>
                    <a:pt x="0" y="303018"/>
                  </a:lnTo>
                  <a:lnTo>
                    <a:pt x="3176" y="283537"/>
                  </a:lnTo>
                  <a:lnTo>
                    <a:pt x="90566" y="259123"/>
                  </a:lnTo>
                  <a:lnTo>
                    <a:pt x="175112" y="234419"/>
                  </a:lnTo>
                  <a:lnTo>
                    <a:pt x="184040" y="215493"/>
                  </a:lnTo>
                  <a:lnTo>
                    <a:pt x="121738" y="196620"/>
                  </a:lnTo>
                  <a:lnTo>
                    <a:pt x="141859" y="175438"/>
                  </a:lnTo>
                  <a:lnTo>
                    <a:pt x="221772" y="137740"/>
                  </a:lnTo>
                  <a:lnTo>
                    <a:pt x="255353" y="131885"/>
                  </a:lnTo>
                  <a:lnTo>
                    <a:pt x="245734" y="107124"/>
                  </a:lnTo>
                  <a:lnTo>
                    <a:pt x="300409" y="92461"/>
                  </a:lnTo>
                  <a:lnTo>
                    <a:pt x="371390" y="83651"/>
                  </a:lnTo>
                  <a:lnTo>
                    <a:pt x="442323" y="83152"/>
                  </a:lnTo>
                  <a:lnTo>
                    <a:pt x="467509" y="100570"/>
                  </a:lnTo>
                  <a:lnTo>
                    <a:pt x="528740" y="69654"/>
                  </a:lnTo>
                  <a:lnTo>
                    <a:pt x="583833" y="90716"/>
                  </a:lnTo>
                  <a:lnTo>
                    <a:pt x="616241" y="95126"/>
                  </a:lnTo>
                  <a:lnTo>
                    <a:pt x="664180" y="113202"/>
                  </a:lnTo>
                  <a:lnTo>
                    <a:pt x="609297" y="83143"/>
                  </a:lnTo>
                  <a:lnTo>
                    <a:pt x="612457" y="58909"/>
                  </a:lnTo>
                  <a:lnTo>
                    <a:pt x="689954" y="24556"/>
                  </a:lnTo>
                  <a:lnTo>
                    <a:pt x="770949" y="27166"/>
                  </a:lnTo>
                  <a:lnTo>
                    <a:pt x="800388" y="5647"/>
                  </a:lnTo>
                  <a:close/>
                </a:path>
              </a:pathLst>
            </a:custGeom>
            <a:grpFill/>
            <a:ln w="3175" cap="rnd">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nb-NO" sz="1600" dirty="0" err="1">
                <a:solidFill>
                  <a:schemeClr val="tx1"/>
                </a:solidFill>
                <a:latin typeface="Arial" panose="020B0604020202020204" pitchFamily="34" charset="0"/>
                <a:cs typeface="Arial" panose="020B0604020202020204" pitchFamily="34" charset="0"/>
              </a:endParaRPr>
            </a:p>
          </p:txBody>
        </p:sp>
      </p:grpSp>
      <p:pic>
        <p:nvPicPr>
          <p:cNvPr id="178" name="Picture 3" descr="A picture containing black, yellow, red&#10;&#10;Description automatically generated">
            <a:extLst>
              <a:ext uri="{FF2B5EF4-FFF2-40B4-BE49-F238E27FC236}">
                <a16:creationId xmlns:a16="http://schemas.microsoft.com/office/drawing/2014/main" id="{00127C7E-19C2-4C4B-898B-44AC6C7EE002}"/>
              </a:ext>
            </a:extLst>
          </p:cNvPr>
          <p:cNvPicPr>
            <a:picLocks noChangeAspect="1"/>
          </p:cNvPicPr>
          <p:nvPr/>
        </p:nvPicPr>
        <p:blipFill>
          <a:blip r:embed="rId184" cstate="print">
            <a:extLst>
              <a:ext uri="{28A0092B-C50C-407E-A947-70E740481C1C}">
                <a14:useLocalDpi xmlns:a14="http://schemas.microsoft.com/office/drawing/2010/main" val="0"/>
              </a:ext>
            </a:extLst>
          </a:blip>
          <a:stretch>
            <a:fillRect/>
          </a:stretch>
        </p:blipFill>
        <p:spPr>
          <a:xfrm>
            <a:off x="6864360" y="3410133"/>
            <a:ext cx="801909" cy="684503"/>
          </a:xfrm>
          <a:prstGeom prst="rect">
            <a:avLst/>
          </a:prstGeom>
          <a:ln>
            <a:solidFill>
              <a:schemeClr val="tx2"/>
            </a:solidFill>
          </a:ln>
        </p:spPr>
      </p:pic>
      <p:cxnSp>
        <p:nvCxnSpPr>
          <p:cNvPr id="179" name="AutoShape 4">
            <a:extLst>
              <a:ext uri="{FF2B5EF4-FFF2-40B4-BE49-F238E27FC236}">
                <a16:creationId xmlns:a16="http://schemas.microsoft.com/office/drawing/2014/main" id="{825D1FBC-568C-B948-B2A1-B85950C21C19}"/>
              </a:ext>
            </a:extLst>
          </p:cNvPr>
          <p:cNvCxnSpPr>
            <a:cxnSpLocks noChangeShapeType="1"/>
          </p:cNvCxnSpPr>
          <p:nvPr>
            <p:custDataLst>
              <p:tags r:id="rId1"/>
            </p:custDataLst>
          </p:nvPr>
        </p:nvCxnSpPr>
        <p:spPr bwMode="auto">
          <a:xfrm flipH="1">
            <a:off x="6398038" y="3489434"/>
            <a:ext cx="455529" cy="334868"/>
          </a:xfrm>
          <a:prstGeom prst="straightConnector1">
            <a:avLst/>
          </a:prstGeom>
          <a:noFill/>
          <a:ln w="9525">
            <a:solidFill>
              <a:schemeClr val="tx1"/>
            </a:solidFill>
            <a:round/>
            <a:headEnd/>
            <a:tailEnd type="oval" w="med" len="med"/>
          </a:ln>
          <a:extLst>
            <a:ext uri="{909E8E84-426E-40DD-AFC4-6F175D3DCCD1}">
              <a14:hiddenFill xmlns:a14="http://schemas.microsoft.com/office/drawing/2010/main">
                <a:noFill/>
              </a14:hiddenFill>
            </a:ext>
          </a:extLst>
        </p:spPr>
      </p:cxnSp>
      <p:cxnSp>
        <p:nvCxnSpPr>
          <p:cNvPr id="180" name="AutoShape 4">
            <a:extLst>
              <a:ext uri="{FF2B5EF4-FFF2-40B4-BE49-F238E27FC236}">
                <a16:creationId xmlns:a16="http://schemas.microsoft.com/office/drawing/2014/main" id="{A8DF4934-6440-0A4F-969E-2C9357D67AD8}"/>
              </a:ext>
            </a:extLst>
          </p:cNvPr>
          <p:cNvCxnSpPr>
            <a:cxnSpLocks noChangeShapeType="1"/>
          </p:cNvCxnSpPr>
          <p:nvPr>
            <p:custDataLst>
              <p:tags r:id="rId2"/>
            </p:custDataLst>
          </p:nvPr>
        </p:nvCxnSpPr>
        <p:spPr bwMode="auto">
          <a:xfrm flipH="1" flipV="1">
            <a:off x="1512935" y="3687456"/>
            <a:ext cx="454211" cy="477812"/>
          </a:xfrm>
          <a:prstGeom prst="straightConnector1">
            <a:avLst/>
          </a:prstGeom>
          <a:noFill/>
          <a:ln w="9525">
            <a:solidFill>
              <a:schemeClr val="tx1"/>
            </a:solidFill>
            <a:round/>
            <a:headEnd/>
            <a:tailEnd type="oval" w="med" len="med"/>
          </a:ln>
          <a:extLst>
            <a:ext uri="{909E8E84-426E-40DD-AFC4-6F175D3DCCD1}">
              <a14:hiddenFill xmlns:a14="http://schemas.microsoft.com/office/drawing/2010/main">
                <a:noFill/>
              </a14:hiddenFill>
            </a:ext>
          </a:extLst>
        </p:spPr>
      </p:cxnSp>
      <p:cxnSp>
        <p:nvCxnSpPr>
          <p:cNvPr id="181" name="AutoShape 4">
            <a:extLst>
              <a:ext uri="{FF2B5EF4-FFF2-40B4-BE49-F238E27FC236}">
                <a16:creationId xmlns:a16="http://schemas.microsoft.com/office/drawing/2014/main" id="{EDD45081-1FDE-DB44-A7F8-716E98E59648}"/>
              </a:ext>
            </a:extLst>
          </p:cNvPr>
          <p:cNvCxnSpPr>
            <a:cxnSpLocks noChangeShapeType="1"/>
          </p:cNvCxnSpPr>
          <p:nvPr>
            <p:custDataLst>
              <p:tags r:id="rId3"/>
            </p:custDataLst>
          </p:nvPr>
        </p:nvCxnSpPr>
        <p:spPr bwMode="auto">
          <a:xfrm flipH="1" flipV="1">
            <a:off x="3577986" y="4271969"/>
            <a:ext cx="146970" cy="258791"/>
          </a:xfrm>
          <a:prstGeom prst="straightConnector1">
            <a:avLst/>
          </a:prstGeom>
          <a:noFill/>
          <a:ln w="9525">
            <a:solidFill>
              <a:schemeClr val="tx1"/>
            </a:solidFill>
            <a:round/>
            <a:headEnd/>
            <a:tailEnd type="oval" w="med" len="med"/>
          </a:ln>
          <a:extLst>
            <a:ext uri="{909E8E84-426E-40DD-AFC4-6F175D3DCCD1}">
              <a14:hiddenFill xmlns:a14="http://schemas.microsoft.com/office/drawing/2010/main">
                <a:noFill/>
              </a14:hiddenFill>
            </a:ext>
          </a:extLst>
        </p:spPr>
      </p:cxnSp>
      <p:cxnSp>
        <p:nvCxnSpPr>
          <p:cNvPr id="182" name="AutoShape 4">
            <a:extLst>
              <a:ext uri="{FF2B5EF4-FFF2-40B4-BE49-F238E27FC236}">
                <a16:creationId xmlns:a16="http://schemas.microsoft.com/office/drawing/2014/main" id="{D33D249B-3C11-D149-8017-51636B5C55E4}"/>
              </a:ext>
            </a:extLst>
          </p:cNvPr>
          <p:cNvCxnSpPr>
            <a:cxnSpLocks noChangeShapeType="1"/>
          </p:cNvCxnSpPr>
          <p:nvPr>
            <p:custDataLst>
              <p:tags r:id="rId4"/>
            </p:custDataLst>
          </p:nvPr>
        </p:nvCxnSpPr>
        <p:spPr bwMode="auto">
          <a:xfrm flipV="1">
            <a:off x="1327363" y="4436131"/>
            <a:ext cx="631525" cy="196393"/>
          </a:xfrm>
          <a:prstGeom prst="straightConnector1">
            <a:avLst/>
          </a:prstGeom>
          <a:noFill/>
          <a:ln w="9525">
            <a:solidFill>
              <a:schemeClr val="tx1"/>
            </a:solidFill>
            <a:round/>
            <a:headEnd/>
            <a:tailEnd type="oval" w="med" len="med"/>
          </a:ln>
          <a:extLst>
            <a:ext uri="{909E8E84-426E-40DD-AFC4-6F175D3DCCD1}">
              <a14:hiddenFill xmlns:a14="http://schemas.microsoft.com/office/drawing/2010/main">
                <a:noFill/>
              </a14:hiddenFill>
            </a:ext>
          </a:extLst>
        </p:spPr>
      </p:cxnSp>
      <p:pic>
        <p:nvPicPr>
          <p:cNvPr id="183" name="Picture 54291" descr="A close up of a sign&#10;&#10;Description automatically generated">
            <a:extLst>
              <a:ext uri="{FF2B5EF4-FFF2-40B4-BE49-F238E27FC236}">
                <a16:creationId xmlns:a16="http://schemas.microsoft.com/office/drawing/2014/main" id="{C79D6E1A-8D71-B94A-8B7C-CC554276B9B1}"/>
              </a:ext>
            </a:extLst>
          </p:cNvPr>
          <p:cNvPicPr>
            <a:picLocks noChangeAspect="1"/>
          </p:cNvPicPr>
          <p:nvPr/>
        </p:nvPicPr>
        <p:blipFill>
          <a:blip r:embed="rId185" cstate="print">
            <a:extLst>
              <a:ext uri="{28A0092B-C50C-407E-A947-70E740481C1C}">
                <a14:useLocalDpi xmlns:a14="http://schemas.microsoft.com/office/drawing/2010/main" val="0"/>
              </a:ext>
            </a:extLst>
          </a:blip>
          <a:stretch>
            <a:fillRect/>
          </a:stretch>
        </p:blipFill>
        <p:spPr>
          <a:xfrm>
            <a:off x="4801753" y="5221793"/>
            <a:ext cx="930778" cy="592402"/>
          </a:xfrm>
          <a:prstGeom prst="rect">
            <a:avLst/>
          </a:prstGeom>
          <a:ln>
            <a:solidFill>
              <a:schemeClr val="tx2"/>
            </a:solidFill>
          </a:ln>
        </p:spPr>
      </p:pic>
      <p:cxnSp>
        <p:nvCxnSpPr>
          <p:cNvPr id="184" name="AutoShape 4">
            <a:extLst>
              <a:ext uri="{FF2B5EF4-FFF2-40B4-BE49-F238E27FC236}">
                <a16:creationId xmlns:a16="http://schemas.microsoft.com/office/drawing/2014/main" id="{865FD1E4-057E-8E40-BD59-041181784906}"/>
              </a:ext>
            </a:extLst>
          </p:cNvPr>
          <p:cNvCxnSpPr>
            <a:cxnSpLocks noChangeShapeType="1"/>
            <a:stCxn id="202" idx="3"/>
            <a:endCxn id="73" idx="45"/>
          </p:cNvCxnSpPr>
          <p:nvPr>
            <p:custDataLst>
              <p:tags r:id="rId5"/>
            </p:custDataLst>
          </p:nvPr>
        </p:nvCxnSpPr>
        <p:spPr bwMode="auto">
          <a:xfrm flipH="1" flipV="1">
            <a:off x="6236764" y="4094962"/>
            <a:ext cx="103464" cy="265705"/>
          </a:xfrm>
          <a:prstGeom prst="straightConnector1">
            <a:avLst/>
          </a:prstGeom>
          <a:noFill/>
          <a:ln w="9525">
            <a:solidFill>
              <a:schemeClr val="tx1"/>
            </a:solidFill>
            <a:round/>
            <a:headEnd/>
            <a:tailEnd type="oval" w="med" len="med"/>
          </a:ln>
          <a:extLst>
            <a:ext uri="{909E8E84-426E-40DD-AFC4-6F175D3DCCD1}">
              <a14:hiddenFill xmlns:a14="http://schemas.microsoft.com/office/drawing/2010/main">
                <a:noFill/>
              </a14:hiddenFill>
            </a:ext>
          </a:extLst>
        </p:spPr>
      </p:cxnSp>
      <p:cxnSp>
        <p:nvCxnSpPr>
          <p:cNvPr id="185" name="AutoShape 4">
            <a:extLst>
              <a:ext uri="{FF2B5EF4-FFF2-40B4-BE49-F238E27FC236}">
                <a16:creationId xmlns:a16="http://schemas.microsoft.com/office/drawing/2014/main" id="{1B8B19F0-79CB-D147-B6E9-A4666829A5C9}"/>
              </a:ext>
            </a:extLst>
          </p:cNvPr>
          <p:cNvCxnSpPr>
            <a:cxnSpLocks noChangeShapeType="1"/>
          </p:cNvCxnSpPr>
          <p:nvPr>
            <p:custDataLst>
              <p:tags r:id="rId6"/>
            </p:custDataLst>
          </p:nvPr>
        </p:nvCxnSpPr>
        <p:spPr bwMode="auto">
          <a:xfrm flipH="1" flipV="1">
            <a:off x="9438403" y="5682900"/>
            <a:ext cx="329355" cy="414804"/>
          </a:xfrm>
          <a:prstGeom prst="straightConnector1">
            <a:avLst/>
          </a:prstGeom>
          <a:noFill/>
          <a:ln w="9525">
            <a:solidFill>
              <a:schemeClr val="tx1"/>
            </a:solidFill>
            <a:round/>
            <a:headEnd/>
            <a:tailEnd type="oval" w="med" len="med"/>
          </a:ln>
          <a:extLst>
            <a:ext uri="{909E8E84-426E-40DD-AFC4-6F175D3DCCD1}">
              <a14:hiddenFill xmlns:a14="http://schemas.microsoft.com/office/drawing/2010/main">
                <a:noFill/>
              </a14:hiddenFill>
            </a:ext>
          </a:extLst>
        </p:spPr>
      </p:cxnSp>
      <p:cxnSp>
        <p:nvCxnSpPr>
          <p:cNvPr id="186" name="AutoShape 4">
            <a:extLst>
              <a:ext uri="{FF2B5EF4-FFF2-40B4-BE49-F238E27FC236}">
                <a16:creationId xmlns:a16="http://schemas.microsoft.com/office/drawing/2014/main" id="{5F8C426E-C523-B640-ABD5-F7AF8D3D0451}"/>
              </a:ext>
            </a:extLst>
          </p:cNvPr>
          <p:cNvCxnSpPr>
            <a:cxnSpLocks noChangeShapeType="1"/>
          </p:cNvCxnSpPr>
          <p:nvPr>
            <p:custDataLst>
              <p:tags r:id="rId7"/>
            </p:custDataLst>
          </p:nvPr>
        </p:nvCxnSpPr>
        <p:spPr bwMode="auto">
          <a:xfrm flipH="1" flipV="1">
            <a:off x="7197517" y="4678588"/>
            <a:ext cx="528954" cy="316089"/>
          </a:xfrm>
          <a:prstGeom prst="straightConnector1">
            <a:avLst/>
          </a:prstGeom>
          <a:noFill/>
          <a:ln w="9525">
            <a:solidFill>
              <a:schemeClr val="tx1"/>
            </a:solidFill>
            <a:round/>
            <a:headEnd/>
            <a:tailEnd type="oval" w="med" len="med"/>
          </a:ln>
          <a:extLst>
            <a:ext uri="{909E8E84-426E-40DD-AFC4-6F175D3DCCD1}">
              <a14:hiddenFill xmlns:a14="http://schemas.microsoft.com/office/drawing/2010/main">
                <a:noFill/>
              </a14:hiddenFill>
            </a:ext>
          </a:extLst>
        </p:spPr>
      </p:cxnSp>
      <p:pic>
        <p:nvPicPr>
          <p:cNvPr id="187" name="Picture 2" descr="A close up of a sign&#10;&#10;Description automatically generated">
            <a:extLst>
              <a:ext uri="{FF2B5EF4-FFF2-40B4-BE49-F238E27FC236}">
                <a16:creationId xmlns:a16="http://schemas.microsoft.com/office/drawing/2014/main" id="{7CD01F72-4E69-2048-A7DE-7A113C4B8C6E}"/>
              </a:ext>
            </a:extLst>
          </p:cNvPr>
          <p:cNvPicPr>
            <a:picLocks noChangeAspect="1"/>
          </p:cNvPicPr>
          <p:nvPr/>
        </p:nvPicPr>
        <p:blipFill>
          <a:blip r:embed="rId186" cstate="print">
            <a:extLst>
              <a:ext uri="{28A0092B-C50C-407E-A947-70E740481C1C}">
                <a14:useLocalDpi xmlns:a14="http://schemas.microsoft.com/office/drawing/2010/main" val="0"/>
              </a:ext>
            </a:extLst>
          </a:blip>
          <a:stretch>
            <a:fillRect/>
          </a:stretch>
        </p:blipFill>
        <p:spPr>
          <a:xfrm>
            <a:off x="11000616" y="4875648"/>
            <a:ext cx="698999" cy="592402"/>
          </a:xfrm>
          <a:prstGeom prst="rect">
            <a:avLst/>
          </a:prstGeom>
          <a:ln>
            <a:solidFill>
              <a:schemeClr val="tx2"/>
            </a:solidFill>
          </a:ln>
        </p:spPr>
      </p:pic>
      <p:cxnSp>
        <p:nvCxnSpPr>
          <p:cNvPr id="188" name="AutoShape 4">
            <a:extLst>
              <a:ext uri="{FF2B5EF4-FFF2-40B4-BE49-F238E27FC236}">
                <a16:creationId xmlns:a16="http://schemas.microsoft.com/office/drawing/2014/main" id="{2786673B-E5BE-9747-96C4-1411D5670C5D}"/>
              </a:ext>
            </a:extLst>
          </p:cNvPr>
          <p:cNvCxnSpPr>
            <a:cxnSpLocks noChangeShapeType="1"/>
            <a:stCxn id="187" idx="1"/>
          </p:cNvCxnSpPr>
          <p:nvPr>
            <p:custDataLst>
              <p:tags r:id="rId8"/>
            </p:custDataLst>
          </p:nvPr>
        </p:nvCxnSpPr>
        <p:spPr bwMode="auto">
          <a:xfrm flipH="1" flipV="1">
            <a:off x="10024568" y="4688951"/>
            <a:ext cx="976048" cy="482898"/>
          </a:xfrm>
          <a:prstGeom prst="straightConnector1">
            <a:avLst/>
          </a:prstGeom>
          <a:noFill/>
          <a:ln w="9525">
            <a:solidFill>
              <a:schemeClr val="tx1"/>
            </a:solidFill>
            <a:round/>
            <a:headEnd/>
            <a:tailEnd type="oval" w="med" len="med"/>
          </a:ln>
          <a:extLst>
            <a:ext uri="{909E8E84-426E-40DD-AFC4-6F175D3DCCD1}">
              <a14:hiddenFill xmlns:a14="http://schemas.microsoft.com/office/drawing/2010/main">
                <a:noFill/>
              </a14:hiddenFill>
            </a:ext>
          </a:extLst>
        </p:spPr>
      </p:cxnSp>
      <p:sp>
        <p:nvSpPr>
          <p:cNvPr id="189" name="Title 6">
            <a:extLst>
              <a:ext uri="{FF2B5EF4-FFF2-40B4-BE49-F238E27FC236}">
                <a16:creationId xmlns:a16="http://schemas.microsoft.com/office/drawing/2014/main" id="{5A4731C1-A6A4-2945-8AE6-7BDB0B2BF43D}"/>
              </a:ext>
            </a:extLst>
          </p:cNvPr>
          <p:cNvSpPr txBox="1">
            <a:spLocks/>
          </p:cNvSpPr>
          <p:nvPr/>
        </p:nvSpPr>
        <p:spPr>
          <a:xfrm>
            <a:off x="939569" y="1375453"/>
            <a:ext cx="11160125" cy="755999"/>
          </a:xfrm>
          <a:prstGeom prst="rect">
            <a:avLst/>
          </a:prstGeom>
        </p:spPr>
        <p:txBody>
          <a:bodyPr vert="horz" wrap="square" lIns="91440" tIns="45720" rIns="91440" bIns="45720" numCol="1" anchor="b" anchorCtr="0" compatLnSpc="1">
            <a:prstTxWarp prst="textNoShape">
              <a:avLst/>
            </a:prstTxWarp>
            <a:noAutofit/>
          </a:bodyPr>
          <a:lstStyle>
            <a:lvl1pPr algn="l" rtl="0" eaLnBrk="0" fontAlgn="base" hangingPunct="0">
              <a:lnSpc>
                <a:spcPct val="90000"/>
              </a:lnSpc>
              <a:spcBef>
                <a:spcPct val="0"/>
              </a:spcBef>
              <a:spcAft>
                <a:spcPct val="0"/>
              </a:spcAft>
              <a:defRPr sz="2800" b="1" kern="1200" cap="all">
                <a:solidFill>
                  <a:schemeClr val="tx1"/>
                </a:solidFill>
                <a:latin typeface="Calibri"/>
                <a:ea typeface="ＭＳ Ｐゴシック" charset="0"/>
                <a:cs typeface="ＭＳ Ｐゴシック" charset="0"/>
              </a:defRPr>
            </a:lvl1pPr>
            <a:lvl2pPr algn="l" rtl="0" eaLnBrk="0" fontAlgn="base" hangingPunct="0">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2pPr>
            <a:lvl3pPr algn="l" rtl="0" eaLnBrk="0" fontAlgn="base" hangingPunct="0">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3pPr>
            <a:lvl4pPr algn="l" rtl="0" eaLnBrk="0" fontAlgn="base" hangingPunct="0">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4pPr>
            <a:lvl5pPr algn="l" rtl="0" eaLnBrk="0" fontAlgn="base" hangingPunct="0">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5pPr>
            <a:lvl6pPr marL="457200" algn="l" rtl="0" fontAlgn="base">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6pPr>
            <a:lvl7pPr marL="914400" algn="l" rtl="0" fontAlgn="base">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7pPr>
            <a:lvl8pPr marL="1371600" algn="l" rtl="0" fontAlgn="base">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8pPr>
            <a:lvl9pPr marL="1828800" algn="l" rtl="0" fontAlgn="base">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9pPr>
          </a:lstStyle>
          <a:p>
            <a:r>
              <a:rPr lang="nb-NO" dirty="0" err="1"/>
              <a:t>We</a:t>
            </a:r>
            <a:r>
              <a:rPr lang="nb-NO" dirty="0"/>
              <a:t> have «EYES AND EARS» IN THE WORLD´S MOST INNOVATIVE AREAS</a:t>
            </a:r>
          </a:p>
        </p:txBody>
      </p:sp>
      <p:sp>
        <p:nvSpPr>
          <p:cNvPr id="190" name="TekstSylinder 189">
            <a:extLst>
              <a:ext uri="{FF2B5EF4-FFF2-40B4-BE49-F238E27FC236}">
                <a16:creationId xmlns:a16="http://schemas.microsoft.com/office/drawing/2014/main" id="{4868E3BD-5D3A-004B-B049-88B4CB14549F}"/>
              </a:ext>
            </a:extLst>
          </p:cNvPr>
          <p:cNvSpPr txBox="1"/>
          <p:nvPr/>
        </p:nvSpPr>
        <p:spPr>
          <a:xfrm>
            <a:off x="10478916" y="4465149"/>
            <a:ext cx="1224117" cy="369332"/>
          </a:xfrm>
          <a:prstGeom prst="rect">
            <a:avLst/>
          </a:prstGeom>
          <a:solidFill>
            <a:schemeClr val="accent5">
              <a:lumMod val="50000"/>
            </a:schemeClr>
          </a:solidFill>
          <a:ln>
            <a:solidFill>
              <a:schemeClr val="bg1"/>
            </a:solidFill>
          </a:ln>
        </p:spPr>
        <p:txBody>
          <a:bodyPr wrap="square" rtlCol="0">
            <a:spAutoFit/>
          </a:bodyPr>
          <a:lstStyle/>
          <a:p>
            <a:pPr algn="ctr"/>
            <a:r>
              <a:rPr lang="nb-NO" b="1" dirty="0">
                <a:solidFill>
                  <a:schemeClr val="bg1"/>
                </a:solidFill>
              </a:rPr>
              <a:t>SHANGHAI</a:t>
            </a:r>
          </a:p>
        </p:txBody>
      </p:sp>
      <p:sp>
        <p:nvSpPr>
          <p:cNvPr id="191" name="TekstSylinder 190">
            <a:extLst>
              <a:ext uri="{FF2B5EF4-FFF2-40B4-BE49-F238E27FC236}">
                <a16:creationId xmlns:a16="http://schemas.microsoft.com/office/drawing/2014/main" id="{248CB9F8-EDDA-F041-9E90-61EDFA18B792}"/>
              </a:ext>
            </a:extLst>
          </p:cNvPr>
          <p:cNvSpPr txBox="1"/>
          <p:nvPr/>
        </p:nvSpPr>
        <p:spPr>
          <a:xfrm>
            <a:off x="8092033" y="5677547"/>
            <a:ext cx="1330826" cy="369332"/>
          </a:xfrm>
          <a:prstGeom prst="rect">
            <a:avLst/>
          </a:prstGeom>
          <a:solidFill>
            <a:schemeClr val="accent5">
              <a:lumMod val="50000"/>
            </a:schemeClr>
          </a:solidFill>
          <a:ln>
            <a:solidFill>
              <a:schemeClr val="bg1"/>
            </a:solidFill>
          </a:ln>
        </p:spPr>
        <p:txBody>
          <a:bodyPr wrap="square" rtlCol="0">
            <a:spAutoFit/>
          </a:bodyPr>
          <a:lstStyle/>
          <a:p>
            <a:pPr algn="ctr"/>
            <a:r>
              <a:rPr lang="nb-NO" b="1" dirty="0">
                <a:solidFill>
                  <a:schemeClr val="bg1"/>
                </a:solidFill>
              </a:rPr>
              <a:t>SINGAPORE</a:t>
            </a:r>
          </a:p>
        </p:txBody>
      </p:sp>
      <p:sp>
        <p:nvSpPr>
          <p:cNvPr id="192" name="TekstSylinder 191">
            <a:extLst>
              <a:ext uri="{FF2B5EF4-FFF2-40B4-BE49-F238E27FC236}">
                <a16:creationId xmlns:a16="http://schemas.microsoft.com/office/drawing/2014/main" id="{C7C9C348-4DF2-4043-9601-C57E3FEF96ED}"/>
              </a:ext>
            </a:extLst>
          </p:cNvPr>
          <p:cNvSpPr txBox="1"/>
          <p:nvPr/>
        </p:nvSpPr>
        <p:spPr>
          <a:xfrm>
            <a:off x="7304404" y="4126307"/>
            <a:ext cx="1224117" cy="369332"/>
          </a:xfrm>
          <a:prstGeom prst="rect">
            <a:avLst/>
          </a:prstGeom>
          <a:solidFill>
            <a:schemeClr val="accent5">
              <a:lumMod val="50000"/>
            </a:schemeClr>
          </a:solidFill>
        </p:spPr>
        <p:txBody>
          <a:bodyPr wrap="square" rtlCol="0">
            <a:spAutoFit/>
          </a:bodyPr>
          <a:lstStyle/>
          <a:p>
            <a:pPr algn="ctr"/>
            <a:r>
              <a:rPr lang="nb-NO" b="1" dirty="0">
                <a:solidFill>
                  <a:schemeClr val="bg1"/>
                </a:solidFill>
              </a:rPr>
              <a:t>TEL AVIV</a:t>
            </a:r>
          </a:p>
        </p:txBody>
      </p:sp>
      <p:pic>
        <p:nvPicPr>
          <p:cNvPr id="193" name="Bilde 2">
            <a:extLst>
              <a:ext uri="{FF2B5EF4-FFF2-40B4-BE49-F238E27FC236}">
                <a16:creationId xmlns:a16="http://schemas.microsoft.com/office/drawing/2014/main" id="{74C96306-3B52-0F49-9DF8-0F46481E1F24}"/>
              </a:ext>
            </a:extLst>
          </p:cNvPr>
          <p:cNvPicPr>
            <a:picLocks/>
          </p:cNvPicPr>
          <p:nvPr/>
        </p:nvPicPr>
        <p:blipFill>
          <a:blip r:embed="rId187">
            <a:extLst>
              <a:ext uri="{28A0092B-C50C-407E-A947-70E740481C1C}">
                <a14:useLocalDpi xmlns:a14="http://schemas.microsoft.com/office/drawing/2010/main" val="0"/>
              </a:ext>
            </a:extLst>
          </a:blip>
          <a:stretch>
            <a:fillRect/>
          </a:stretch>
        </p:blipFill>
        <p:spPr bwMode="auto">
          <a:xfrm>
            <a:off x="7741270" y="4530760"/>
            <a:ext cx="785218" cy="728935"/>
          </a:xfrm>
          <a:prstGeom prst="rect">
            <a:avLst/>
          </a:prstGeom>
          <a:solidFill>
            <a:schemeClr val="tx1"/>
          </a:solidFill>
          <a:ln>
            <a:solidFill>
              <a:schemeClr val="tx1"/>
            </a:solidFill>
          </a:ln>
          <a:extLst>
            <a:ext uri="{FAA26D3D-D897-4be2-8F04-BA451C77F1D7}">
              <ma14:placeholderFlag xmlns:ma14="http://schemas.microsoft.com/office/mac/drawingml/2011/main" xmlns="" val="1"/>
            </a:ext>
          </a:extLst>
        </p:spPr>
      </p:pic>
      <p:sp>
        <p:nvSpPr>
          <p:cNvPr id="194" name="TekstSylinder 193">
            <a:extLst>
              <a:ext uri="{FF2B5EF4-FFF2-40B4-BE49-F238E27FC236}">
                <a16:creationId xmlns:a16="http://schemas.microsoft.com/office/drawing/2014/main" id="{F4604C6C-5813-024B-9974-13ED95390390}"/>
              </a:ext>
            </a:extLst>
          </p:cNvPr>
          <p:cNvSpPr txBox="1"/>
          <p:nvPr/>
        </p:nvSpPr>
        <p:spPr>
          <a:xfrm>
            <a:off x="6853567" y="2999235"/>
            <a:ext cx="1224117" cy="369332"/>
          </a:xfrm>
          <a:prstGeom prst="rect">
            <a:avLst/>
          </a:prstGeom>
          <a:solidFill>
            <a:schemeClr val="accent5">
              <a:lumMod val="50000"/>
            </a:schemeClr>
          </a:solidFill>
          <a:ln>
            <a:noFill/>
          </a:ln>
        </p:spPr>
        <p:txBody>
          <a:bodyPr wrap="square" rtlCol="0">
            <a:spAutoFit/>
          </a:bodyPr>
          <a:lstStyle/>
          <a:p>
            <a:pPr algn="ctr"/>
            <a:r>
              <a:rPr lang="nb-NO" b="1" dirty="0">
                <a:solidFill>
                  <a:schemeClr val="bg1"/>
                </a:solidFill>
              </a:rPr>
              <a:t>BERLIN</a:t>
            </a:r>
          </a:p>
        </p:txBody>
      </p:sp>
      <p:sp>
        <p:nvSpPr>
          <p:cNvPr id="195" name="TekstSylinder 194">
            <a:extLst>
              <a:ext uri="{FF2B5EF4-FFF2-40B4-BE49-F238E27FC236}">
                <a16:creationId xmlns:a16="http://schemas.microsoft.com/office/drawing/2014/main" id="{377A68EE-E0C2-EE49-B056-F15E65FCE7A2}"/>
              </a:ext>
            </a:extLst>
          </p:cNvPr>
          <p:cNvSpPr txBox="1"/>
          <p:nvPr/>
        </p:nvSpPr>
        <p:spPr>
          <a:xfrm>
            <a:off x="4769498" y="4511315"/>
            <a:ext cx="1570730" cy="646331"/>
          </a:xfrm>
          <a:prstGeom prst="rect">
            <a:avLst/>
          </a:prstGeom>
          <a:solidFill>
            <a:schemeClr val="accent5">
              <a:lumMod val="50000"/>
            </a:schemeClr>
          </a:solidFill>
          <a:ln>
            <a:noFill/>
          </a:ln>
        </p:spPr>
        <p:txBody>
          <a:bodyPr wrap="square" rtlCol="0">
            <a:spAutoFit/>
          </a:bodyPr>
          <a:lstStyle/>
          <a:p>
            <a:pPr algn="ctr"/>
            <a:r>
              <a:rPr lang="nb-NO" b="1" dirty="0">
                <a:solidFill>
                  <a:schemeClr val="bg1"/>
                </a:solidFill>
              </a:rPr>
              <a:t>ZURICH/</a:t>
            </a:r>
          </a:p>
          <a:p>
            <a:pPr algn="ctr"/>
            <a:r>
              <a:rPr lang="nb-NO" b="1" dirty="0">
                <a:solidFill>
                  <a:schemeClr val="bg1"/>
                </a:solidFill>
              </a:rPr>
              <a:t>GENEVA</a:t>
            </a:r>
          </a:p>
        </p:txBody>
      </p:sp>
      <p:sp>
        <p:nvSpPr>
          <p:cNvPr id="196" name="TekstSylinder 195">
            <a:extLst>
              <a:ext uri="{FF2B5EF4-FFF2-40B4-BE49-F238E27FC236}">
                <a16:creationId xmlns:a16="http://schemas.microsoft.com/office/drawing/2014/main" id="{1AABE07F-D5D5-F841-B782-20EC13D47965}"/>
              </a:ext>
            </a:extLst>
          </p:cNvPr>
          <p:cNvSpPr txBox="1"/>
          <p:nvPr/>
        </p:nvSpPr>
        <p:spPr>
          <a:xfrm>
            <a:off x="3232303" y="3667588"/>
            <a:ext cx="1416566" cy="369332"/>
          </a:xfrm>
          <a:prstGeom prst="rect">
            <a:avLst/>
          </a:prstGeom>
          <a:solidFill>
            <a:schemeClr val="accent5">
              <a:lumMod val="50000"/>
            </a:schemeClr>
          </a:solidFill>
          <a:ln>
            <a:solidFill>
              <a:schemeClr val="bg1"/>
            </a:solidFill>
          </a:ln>
        </p:spPr>
        <p:txBody>
          <a:bodyPr wrap="square" rtlCol="0">
            <a:spAutoFit/>
          </a:bodyPr>
          <a:lstStyle/>
          <a:p>
            <a:pPr algn="ctr"/>
            <a:r>
              <a:rPr lang="nb-NO" b="1" dirty="0">
                <a:solidFill>
                  <a:schemeClr val="bg1"/>
                </a:solidFill>
              </a:rPr>
              <a:t>NEW YORK</a:t>
            </a:r>
          </a:p>
        </p:txBody>
      </p:sp>
      <p:sp>
        <p:nvSpPr>
          <p:cNvPr id="197" name="TekstSylinder 196">
            <a:extLst>
              <a:ext uri="{FF2B5EF4-FFF2-40B4-BE49-F238E27FC236}">
                <a16:creationId xmlns:a16="http://schemas.microsoft.com/office/drawing/2014/main" id="{3CBBF281-53DD-4D4A-B610-1C5B2E039196}"/>
              </a:ext>
            </a:extLst>
          </p:cNvPr>
          <p:cNvSpPr txBox="1"/>
          <p:nvPr/>
        </p:nvSpPr>
        <p:spPr>
          <a:xfrm>
            <a:off x="352934" y="3854972"/>
            <a:ext cx="1416566" cy="646331"/>
          </a:xfrm>
          <a:prstGeom prst="rect">
            <a:avLst/>
          </a:prstGeom>
          <a:solidFill>
            <a:schemeClr val="accent5">
              <a:lumMod val="50000"/>
            </a:schemeClr>
          </a:solidFill>
          <a:ln>
            <a:noFill/>
          </a:ln>
        </p:spPr>
        <p:txBody>
          <a:bodyPr wrap="square" rtlCol="0">
            <a:spAutoFit/>
          </a:bodyPr>
          <a:lstStyle/>
          <a:p>
            <a:pPr algn="ctr"/>
            <a:r>
              <a:rPr lang="nb-NO" b="1" dirty="0">
                <a:solidFill>
                  <a:schemeClr val="bg1"/>
                </a:solidFill>
              </a:rPr>
              <a:t>SILICON VALLEY</a:t>
            </a:r>
          </a:p>
        </p:txBody>
      </p:sp>
      <p:pic>
        <p:nvPicPr>
          <p:cNvPr id="198" name="Bilde 197">
            <a:extLst>
              <a:ext uri="{FF2B5EF4-FFF2-40B4-BE49-F238E27FC236}">
                <a16:creationId xmlns:a16="http://schemas.microsoft.com/office/drawing/2014/main" id="{7E3DD7BA-3E0D-1341-B940-CB31E2E258E6}"/>
              </a:ext>
            </a:extLst>
          </p:cNvPr>
          <p:cNvPicPr>
            <a:picLocks noChangeAspect="1"/>
          </p:cNvPicPr>
          <p:nvPr/>
        </p:nvPicPr>
        <p:blipFill>
          <a:blip r:embed="rId188">
            <a:extLst>
              <a:ext uri="{28A0092B-C50C-407E-A947-70E740481C1C}">
                <a14:useLocalDpi xmlns:a14="http://schemas.microsoft.com/office/drawing/2010/main" val="0"/>
              </a:ext>
            </a:extLst>
          </a:blip>
          <a:stretch>
            <a:fillRect/>
          </a:stretch>
        </p:blipFill>
        <p:spPr>
          <a:xfrm>
            <a:off x="8107753" y="6097704"/>
            <a:ext cx="1660005" cy="664002"/>
          </a:xfrm>
          <a:prstGeom prst="rect">
            <a:avLst/>
          </a:prstGeom>
          <a:ln>
            <a:solidFill>
              <a:schemeClr val="tx1"/>
            </a:solidFill>
          </a:ln>
        </p:spPr>
      </p:pic>
      <p:pic>
        <p:nvPicPr>
          <p:cNvPr id="199" name="Picture 4">
            <a:extLst>
              <a:ext uri="{FF2B5EF4-FFF2-40B4-BE49-F238E27FC236}">
                <a16:creationId xmlns:a16="http://schemas.microsoft.com/office/drawing/2014/main" id="{B0B0B2EA-514C-5C4A-B190-0DB57249E9F1}"/>
              </a:ext>
            </a:extLst>
          </p:cNvPr>
          <p:cNvPicPr>
            <a:picLocks noChangeAspect="1"/>
          </p:cNvPicPr>
          <p:nvPr/>
        </p:nvPicPr>
        <p:blipFill>
          <a:blip r:embed="rId189">
            <a:extLst>
              <a:ext uri="{28A0092B-C50C-407E-A947-70E740481C1C}">
                <a14:useLocalDpi xmlns:a14="http://schemas.microsoft.com/office/drawing/2010/main" val="0"/>
              </a:ext>
            </a:extLst>
          </a:blip>
          <a:stretch>
            <a:fillRect/>
          </a:stretch>
        </p:blipFill>
        <p:spPr>
          <a:xfrm>
            <a:off x="361131" y="4547745"/>
            <a:ext cx="1588997" cy="461566"/>
          </a:xfrm>
          <a:prstGeom prst="rect">
            <a:avLst/>
          </a:prstGeom>
          <a:ln>
            <a:solidFill>
              <a:schemeClr val="tx1"/>
            </a:solidFill>
          </a:ln>
        </p:spPr>
      </p:pic>
      <p:pic>
        <p:nvPicPr>
          <p:cNvPr id="200" name="Bilde 199" descr="Et bilde som inneholder servise, tallerken, tegning&#10;&#10;Automatisk generert beskrivelse">
            <a:extLst>
              <a:ext uri="{FF2B5EF4-FFF2-40B4-BE49-F238E27FC236}">
                <a16:creationId xmlns:a16="http://schemas.microsoft.com/office/drawing/2014/main" id="{05DCF675-AE18-F844-80F2-730228A2C63E}"/>
              </a:ext>
            </a:extLst>
          </p:cNvPr>
          <p:cNvPicPr>
            <a:picLocks noChangeAspect="1"/>
          </p:cNvPicPr>
          <p:nvPr/>
        </p:nvPicPr>
        <p:blipFill>
          <a:blip r:embed="rId190">
            <a:extLst>
              <a:ext uri="{28A0092B-C50C-407E-A947-70E740481C1C}">
                <a14:useLocalDpi xmlns:a14="http://schemas.microsoft.com/office/drawing/2010/main" val="0"/>
              </a:ext>
            </a:extLst>
          </a:blip>
          <a:stretch>
            <a:fillRect/>
          </a:stretch>
        </p:blipFill>
        <p:spPr>
          <a:xfrm>
            <a:off x="361131" y="3225272"/>
            <a:ext cx="1208423" cy="563357"/>
          </a:xfrm>
          <a:prstGeom prst="rect">
            <a:avLst/>
          </a:prstGeom>
          <a:ln>
            <a:solidFill>
              <a:schemeClr val="tx1"/>
            </a:solidFill>
          </a:ln>
        </p:spPr>
      </p:pic>
      <p:pic>
        <p:nvPicPr>
          <p:cNvPr id="201" name="Bilde 200" descr="Et bilde som inneholder flaske&#10;&#10;Automatisk generert beskrivelse">
            <a:extLst>
              <a:ext uri="{FF2B5EF4-FFF2-40B4-BE49-F238E27FC236}">
                <a16:creationId xmlns:a16="http://schemas.microsoft.com/office/drawing/2014/main" id="{2C20815F-63D0-B943-B422-3562397CEA3C}"/>
              </a:ext>
            </a:extLst>
          </p:cNvPr>
          <p:cNvPicPr>
            <a:picLocks noChangeAspect="1"/>
          </p:cNvPicPr>
          <p:nvPr/>
        </p:nvPicPr>
        <p:blipFill>
          <a:blip r:embed="rId191">
            <a:extLst>
              <a:ext uri="{28A0092B-C50C-407E-A947-70E740481C1C}">
                <a14:useLocalDpi xmlns:a14="http://schemas.microsoft.com/office/drawing/2010/main" val="0"/>
              </a:ext>
            </a:extLst>
          </a:blip>
          <a:stretch>
            <a:fillRect/>
          </a:stretch>
        </p:blipFill>
        <p:spPr>
          <a:xfrm>
            <a:off x="3724956" y="4079487"/>
            <a:ext cx="910066" cy="816470"/>
          </a:xfrm>
          <a:prstGeom prst="rect">
            <a:avLst/>
          </a:prstGeom>
          <a:ln>
            <a:solidFill>
              <a:schemeClr val="tx1"/>
            </a:solidFill>
          </a:ln>
        </p:spPr>
      </p:pic>
      <p:pic>
        <p:nvPicPr>
          <p:cNvPr id="202" name="Bilde 201" descr="Et bilde som inneholder tegning&#10;&#10;Automatisk generert beskrivelse">
            <a:extLst>
              <a:ext uri="{FF2B5EF4-FFF2-40B4-BE49-F238E27FC236}">
                <a16:creationId xmlns:a16="http://schemas.microsoft.com/office/drawing/2014/main" id="{3E73F1F1-C952-714C-984B-6BA216E6A020}"/>
              </a:ext>
            </a:extLst>
          </p:cNvPr>
          <p:cNvPicPr>
            <a:picLocks noChangeAspect="1"/>
          </p:cNvPicPr>
          <p:nvPr/>
        </p:nvPicPr>
        <p:blipFill>
          <a:blip r:embed="rId192"/>
          <a:stretch>
            <a:fillRect/>
          </a:stretch>
        </p:blipFill>
        <p:spPr>
          <a:xfrm>
            <a:off x="4773477" y="4262745"/>
            <a:ext cx="1566751" cy="195844"/>
          </a:xfrm>
          <a:prstGeom prst="rect">
            <a:avLst/>
          </a:prstGeom>
          <a:ln>
            <a:solidFill>
              <a:schemeClr val="tx1"/>
            </a:solidFill>
          </a:ln>
        </p:spPr>
      </p:pic>
    </p:spTree>
    <p:extLst>
      <p:ext uri="{BB962C8B-B14F-4D97-AF65-F5344CB8AC3E}">
        <p14:creationId xmlns:p14="http://schemas.microsoft.com/office/powerpoint/2010/main" val="560044511"/>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38406D-5A76-F445-BF32-6B79420F5D69}"/>
              </a:ext>
            </a:extLst>
          </p:cNvPr>
          <p:cNvSpPr>
            <a:spLocks noGrp="1"/>
          </p:cNvSpPr>
          <p:nvPr>
            <p:ph type="title"/>
          </p:nvPr>
        </p:nvSpPr>
        <p:spPr>
          <a:xfrm>
            <a:off x="838200" y="1981463"/>
            <a:ext cx="4151243" cy="888737"/>
          </a:xfrm>
        </p:spPr>
        <p:txBody>
          <a:bodyPr/>
          <a:lstStyle/>
          <a:p>
            <a:r>
              <a:rPr lang="nb-NO"/>
              <a:t>WE ALWAYS LOOK FOR WHAT IS NEW…</a:t>
            </a:r>
          </a:p>
        </p:txBody>
      </p:sp>
      <p:pic>
        <p:nvPicPr>
          <p:cNvPr id="5" name="Plassholder for innhold 4">
            <a:extLst>
              <a:ext uri="{FF2B5EF4-FFF2-40B4-BE49-F238E27FC236}">
                <a16:creationId xmlns:a16="http://schemas.microsoft.com/office/drawing/2014/main" id="{DBA4579C-6FCC-424E-84E1-792763801EAB}"/>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250057" y="133176"/>
            <a:ext cx="4921526" cy="6591647"/>
          </a:xfrm>
        </p:spPr>
      </p:pic>
    </p:spTree>
    <p:extLst>
      <p:ext uri="{BB962C8B-B14F-4D97-AF65-F5344CB8AC3E}">
        <p14:creationId xmlns:p14="http://schemas.microsoft.com/office/powerpoint/2010/main" val="136769612"/>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38406D-5A76-F445-BF32-6B79420F5D69}"/>
              </a:ext>
            </a:extLst>
          </p:cNvPr>
          <p:cNvSpPr>
            <a:spLocks noGrp="1"/>
          </p:cNvSpPr>
          <p:nvPr>
            <p:ph type="title"/>
          </p:nvPr>
        </p:nvSpPr>
        <p:spPr>
          <a:xfrm>
            <a:off x="838200" y="1981463"/>
            <a:ext cx="4151243" cy="888737"/>
          </a:xfrm>
        </p:spPr>
        <p:txBody>
          <a:bodyPr/>
          <a:lstStyle/>
          <a:p>
            <a:r>
              <a:rPr lang="nb-NO"/>
              <a:t>WE ALWAYS LOOK FOR SMARTER SOLUTIONS…</a:t>
            </a:r>
          </a:p>
        </p:txBody>
      </p:sp>
      <p:pic>
        <p:nvPicPr>
          <p:cNvPr id="5" name="Plassholder for innhold 4" descr="Et bilde som inneholder avis, tekst, skjermbilde, by&#10;&#10;Automatisk generert beskrivelse">
            <a:extLst>
              <a:ext uri="{FF2B5EF4-FFF2-40B4-BE49-F238E27FC236}">
                <a16:creationId xmlns:a16="http://schemas.microsoft.com/office/drawing/2014/main" id="{F03D4E7F-49CE-2447-8CEE-A18190F1E5BB}"/>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143499" y="146477"/>
            <a:ext cx="6387859" cy="6568648"/>
          </a:xfrm>
          <a:ln>
            <a:solidFill>
              <a:schemeClr val="tx1"/>
            </a:solidFill>
          </a:ln>
        </p:spPr>
      </p:pic>
    </p:spTree>
    <p:extLst>
      <p:ext uri="{BB962C8B-B14F-4D97-AF65-F5344CB8AC3E}">
        <p14:creationId xmlns:p14="http://schemas.microsoft.com/office/powerpoint/2010/main" val="3206820798"/>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1171" y="2179700"/>
            <a:ext cx="1680517" cy="2063218"/>
          </a:xfrm>
          <a:prstGeom prst="rect">
            <a:avLst/>
          </a:prstGeom>
          <a:ln>
            <a:solidFill>
              <a:schemeClr val="tx1"/>
            </a:solidFill>
          </a:ln>
        </p:spPr>
      </p:pic>
      <p:sp>
        <p:nvSpPr>
          <p:cNvPr id="10" name="TekstSylinder 9"/>
          <p:cNvSpPr txBox="1"/>
          <p:nvPr/>
        </p:nvSpPr>
        <p:spPr>
          <a:xfrm>
            <a:off x="767286" y="4267632"/>
            <a:ext cx="1883376" cy="1754326"/>
          </a:xfrm>
          <a:prstGeom prst="rect">
            <a:avLst/>
          </a:prstGeom>
          <a:noFill/>
        </p:spPr>
        <p:txBody>
          <a:bodyPr wrap="square" rtlCol="0">
            <a:spAutoFit/>
          </a:bodyPr>
          <a:lstStyle/>
          <a:p>
            <a:r>
              <a:rPr lang="nb-NO"/>
              <a:t>Styreleder</a:t>
            </a:r>
          </a:p>
          <a:p>
            <a:r>
              <a:rPr lang="nb-NO"/>
              <a:t>HÅKON TAULE </a:t>
            </a:r>
          </a:p>
          <a:p>
            <a:r>
              <a:rPr lang="nb-NO"/>
              <a:t>Partner</a:t>
            </a:r>
          </a:p>
          <a:p>
            <a:r>
              <a:rPr lang="nb-NO" err="1"/>
              <a:t>Thema</a:t>
            </a:r>
            <a:r>
              <a:rPr lang="nb-NO"/>
              <a:t> </a:t>
            </a:r>
            <a:r>
              <a:rPr lang="nb-NO" err="1"/>
              <a:t>Counsulting</a:t>
            </a:r>
            <a:r>
              <a:rPr lang="nb-NO"/>
              <a:t> Group</a:t>
            </a:r>
          </a:p>
        </p:txBody>
      </p:sp>
      <p:sp>
        <p:nvSpPr>
          <p:cNvPr id="11" name="TekstSylinder 10"/>
          <p:cNvSpPr txBox="1"/>
          <p:nvPr/>
        </p:nvSpPr>
        <p:spPr>
          <a:xfrm>
            <a:off x="2590831" y="4278138"/>
            <a:ext cx="1883376" cy="1477328"/>
          </a:xfrm>
          <a:prstGeom prst="rect">
            <a:avLst/>
          </a:prstGeom>
          <a:noFill/>
        </p:spPr>
        <p:txBody>
          <a:bodyPr wrap="square" rtlCol="0">
            <a:spAutoFit/>
          </a:bodyPr>
          <a:lstStyle/>
          <a:p>
            <a:r>
              <a:rPr lang="nb-NO" dirty="0"/>
              <a:t>Styremedlem</a:t>
            </a:r>
          </a:p>
          <a:p>
            <a:r>
              <a:rPr lang="nb-NO" dirty="0"/>
              <a:t>ALEKSANDER NYBØLE </a:t>
            </a:r>
          </a:p>
          <a:p>
            <a:r>
              <a:rPr lang="nb-NO" dirty="0"/>
              <a:t>Direktør</a:t>
            </a:r>
          </a:p>
          <a:p>
            <a:r>
              <a:rPr lang="nb-NO" dirty="0" err="1"/>
              <a:t>Aneo</a:t>
            </a:r>
            <a:endParaRPr lang="nb-NO" dirty="0"/>
          </a:p>
        </p:txBody>
      </p:sp>
      <p:sp>
        <p:nvSpPr>
          <p:cNvPr id="12" name="TekstSylinder 11"/>
          <p:cNvSpPr txBox="1"/>
          <p:nvPr/>
        </p:nvSpPr>
        <p:spPr>
          <a:xfrm>
            <a:off x="4414379" y="4272878"/>
            <a:ext cx="1883376" cy="1477328"/>
          </a:xfrm>
          <a:prstGeom prst="rect">
            <a:avLst/>
          </a:prstGeom>
          <a:noFill/>
        </p:spPr>
        <p:txBody>
          <a:bodyPr wrap="square" rtlCol="0">
            <a:spAutoFit/>
          </a:bodyPr>
          <a:lstStyle/>
          <a:p>
            <a:r>
              <a:rPr lang="nb-NO" dirty="0"/>
              <a:t>Styremedlem</a:t>
            </a:r>
          </a:p>
          <a:p>
            <a:r>
              <a:rPr lang="nb-NO" dirty="0"/>
              <a:t>MARGIT UNANDER  </a:t>
            </a:r>
          </a:p>
          <a:p>
            <a:r>
              <a:rPr lang="nb-NO" dirty="0"/>
              <a:t>Konserndirektør</a:t>
            </a:r>
          </a:p>
          <a:p>
            <a:r>
              <a:rPr lang="nb-NO" dirty="0"/>
              <a:t>Å Energi </a:t>
            </a:r>
          </a:p>
        </p:txBody>
      </p:sp>
      <p:sp>
        <p:nvSpPr>
          <p:cNvPr id="13" name="TekstSylinder 12"/>
          <p:cNvSpPr txBox="1"/>
          <p:nvPr/>
        </p:nvSpPr>
        <p:spPr>
          <a:xfrm>
            <a:off x="9800942" y="4267618"/>
            <a:ext cx="2012723" cy="1200329"/>
          </a:xfrm>
          <a:prstGeom prst="rect">
            <a:avLst/>
          </a:prstGeom>
          <a:noFill/>
        </p:spPr>
        <p:txBody>
          <a:bodyPr wrap="square" rtlCol="0">
            <a:spAutoFit/>
          </a:bodyPr>
          <a:lstStyle/>
          <a:p>
            <a:r>
              <a:rPr lang="nb-NO" dirty="0"/>
              <a:t>Styremedlem</a:t>
            </a:r>
          </a:p>
          <a:p>
            <a:r>
              <a:rPr lang="nb-NO" dirty="0"/>
              <a:t>CAMILLA BAKJORD </a:t>
            </a:r>
          </a:p>
          <a:p>
            <a:r>
              <a:rPr lang="nb-NO" dirty="0"/>
              <a:t>Direktør </a:t>
            </a:r>
          </a:p>
          <a:p>
            <a:r>
              <a:rPr lang="nb-NO" dirty="0" err="1"/>
              <a:t>Cegal</a:t>
            </a:r>
            <a:r>
              <a:rPr lang="nb-NO" dirty="0"/>
              <a:t> </a:t>
            </a:r>
          </a:p>
        </p:txBody>
      </p:sp>
      <p:sp>
        <p:nvSpPr>
          <p:cNvPr id="14" name="TekstSylinder 13"/>
          <p:cNvSpPr txBox="1"/>
          <p:nvPr/>
        </p:nvSpPr>
        <p:spPr>
          <a:xfrm>
            <a:off x="6127565" y="4283385"/>
            <a:ext cx="1883376" cy="1477328"/>
          </a:xfrm>
          <a:prstGeom prst="rect">
            <a:avLst/>
          </a:prstGeom>
          <a:noFill/>
        </p:spPr>
        <p:txBody>
          <a:bodyPr wrap="square" rtlCol="0">
            <a:spAutoFit/>
          </a:bodyPr>
          <a:lstStyle/>
          <a:p>
            <a:r>
              <a:rPr lang="nb-NO"/>
              <a:t>Styremedlem</a:t>
            </a:r>
          </a:p>
          <a:p>
            <a:r>
              <a:rPr lang="nb-NO"/>
              <a:t>BJARNE HAREIDE   </a:t>
            </a:r>
          </a:p>
          <a:p>
            <a:r>
              <a:rPr lang="nb-NO"/>
              <a:t>Gründer og CEO </a:t>
            </a:r>
            <a:r>
              <a:rPr lang="nb-NO" err="1"/>
              <a:t>Digilab-scandinavia</a:t>
            </a:r>
            <a:r>
              <a:rPr lang="nb-NO"/>
              <a:t> </a:t>
            </a:r>
          </a:p>
        </p:txBody>
      </p:sp>
      <p:sp>
        <p:nvSpPr>
          <p:cNvPr id="15" name="TekstSylinder 14"/>
          <p:cNvSpPr txBox="1"/>
          <p:nvPr/>
        </p:nvSpPr>
        <p:spPr>
          <a:xfrm>
            <a:off x="7856516" y="4293891"/>
            <a:ext cx="1975957" cy="1200329"/>
          </a:xfrm>
          <a:prstGeom prst="rect">
            <a:avLst/>
          </a:prstGeom>
          <a:noFill/>
        </p:spPr>
        <p:txBody>
          <a:bodyPr wrap="square" rtlCol="0">
            <a:spAutoFit/>
          </a:bodyPr>
          <a:lstStyle/>
          <a:p>
            <a:r>
              <a:rPr lang="nb-NO" dirty="0"/>
              <a:t>Styremedlem</a:t>
            </a:r>
          </a:p>
          <a:p>
            <a:r>
              <a:rPr lang="nb-NO" dirty="0"/>
              <a:t>KJETIL STORSET </a:t>
            </a:r>
          </a:p>
          <a:p>
            <a:r>
              <a:rPr lang="nb-NO" dirty="0"/>
              <a:t>Direktør</a:t>
            </a:r>
          </a:p>
          <a:p>
            <a:r>
              <a:rPr lang="nb-NO" dirty="0" err="1"/>
              <a:t>Volue</a:t>
            </a:r>
            <a:r>
              <a:rPr lang="nb-NO" dirty="0"/>
              <a:t>  </a:t>
            </a:r>
          </a:p>
        </p:txBody>
      </p:sp>
      <p:pic>
        <p:nvPicPr>
          <p:cNvPr id="16" name="Bilde 15">
            <a:extLst>
              <a:ext uri="{FF2B5EF4-FFF2-40B4-BE49-F238E27FC236}">
                <a16:creationId xmlns:a16="http://schemas.microsoft.com/office/drawing/2014/main" id="{BA1049CB-917D-3F43-A495-2450439CD396}"/>
              </a:ext>
            </a:extLst>
          </p:cNvPr>
          <p:cNvPicPr>
            <a:picLocks noChangeAspect="1"/>
          </p:cNvPicPr>
          <p:nvPr/>
        </p:nvPicPr>
        <p:blipFill rotWithShape="1">
          <a:blip r:embed="rId4"/>
          <a:srcRect l="15174" t="7447" r="-6192" b="27852"/>
          <a:stretch/>
        </p:blipFill>
        <p:spPr>
          <a:xfrm>
            <a:off x="875866" y="2193848"/>
            <a:ext cx="1779368" cy="2059576"/>
          </a:xfrm>
          <a:prstGeom prst="rect">
            <a:avLst/>
          </a:prstGeom>
          <a:ln>
            <a:solidFill>
              <a:schemeClr val="tx1"/>
            </a:solidFill>
          </a:ln>
        </p:spPr>
      </p:pic>
      <p:pic>
        <p:nvPicPr>
          <p:cNvPr id="8" name="Plassholder for innhold 7" descr="Et bilde som inneholder person, vegg, briller, mann&#10;&#10;Automatisk generert beskrivelse">
            <a:extLst>
              <a:ext uri="{FF2B5EF4-FFF2-40B4-BE49-F238E27FC236}">
                <a16:creationId xmlns:a16="http://schemas.microsoft.com/office/drawing/2014/main" id="{342067B7-04C7-C845-91BF-26E8B5DEC70D}"/>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2669152" y="2066206"/>
            <a:ext cx="1786022" cy="2272580"/>
          </a:xfrm>
        </p:spPr>
      </p:pic>
      <p:sp>
        <p:nvSpPr>
          <p:cNvPr id="17" name="Rektangel 16">
            <a:extLst>
              <a:ext uri="{FF2B5EF4-FFF2-40B4-BE49-F238E27FC236}">
                <a16:creationId xmlns:a16="http://schemas.microsoft.com/office/drawing/2014/main" id="{DEFB0E5D-58D1-8843-AD19-FF1E592ABEC1}"/>
              </a:ext>
            </a:extLst>
          </p:cNvPr>
          <p:cNvSpPr/>
          <p:nvPr/>
        </p:nvSpPr>
        <p:spPr>
          <a:xfrm>
            <a:off x="2650662" y="1922728"/>
            <a:ext cx="1823545" cy="246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Rektangel 18">
            <a:extLst>
              <a:ext uri="{FF2B5EF4-FFF2-40B4-BE49-F238E27FC236}">
                <a16:creationId xmlns:a16="http://schemas.microsoft.com/office/drawing/2014/main" id="{637EFD7D-7B29-E640-9B49-FB6567CB4753}"/>
              </a:ext>
            </a:extLst>
          </p:cNvPr>
          <p:cNvSpPr/>
          <p:nvPr/>
        </p:nvSpPr>
        <p:spPr>
          <a:xfrm>
            <a:off x="2674470" y="4253330"/>
            <a:ext cx="1823545" cy="114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21" name="Rett linje 20">
            <a:extLst>
              <a:ext uri="{FF2B5EF4-FFF2-40B4-BE49-F238E27FC236}">
                <a16:creationId xmlns:a16="http://schemas.microsoft.com/office/drawing/2014/main" id="{6577753B-2AA9-3D49-8344-147809697723}"/>
              </a:ext>
            </a:extLst>
          </p:cNvPr>
          <p:cNvCxnSpPr>
            <a:cxnSpLocks/>
          </p:cNvCxnSpPr>
          <p:nvPr/>
        </p:nvCxnSpPr>
        <p:spPr>
          <a:xfrm>
            <a:off x="2669152" y="2179700"/>
            <a:ext cx="1833631" cy="1079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Rett linje 21">
            <a:extLst>
              <a:ext uri="{FF2B5EF4-FFF2-40B4-BE49-F238E27FC236}">
                <a16:creationId xmlns:a16="http://schemas.microsoft.com/office/drawing/2014/main" id="{FCB61D91-8A8A-8249-97FE-544A7CAA9151}"/>
              </a:ext>
            </a:extLst>
          </p:cNvPr>
          <p:cNvCxnSpPr>
            <a:cxnSpLocks/>
          </p:cNvCxnSpPr>
          <p:nvPr/>
        </p:nvCxnSpPr>
        <p:spPr>
          <a:xfrm flipV="1">
            <a:off x="2664384" y="4235844"/>
            <a:ext cx="1833631" cy="1079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Bilde 3" descr="Et bilde som inneholder person, mann, briller, har på seg&#10;&#10;Automatisk generert beskrivelse">
            <a:extLst>
              <a:ext uri="{FF2B5EF4-FFF2-40B4-BE49-F238E27FC236}">
                <a16:creationId xmlns:a16="http://schemas.microsoft.com/office/drawing/2014/main" id="{0EDD523F-68CD-1927-A952-814171BF75F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88552" y="2180352"/>
            <a:ext cx="1883376" cy="2082800"/>
          </a:xfrm>
          <a:prstGeom prst="rect">
            <a:avLst/>
          </a:prstGeom>
          <a:ln>
            <a:solidFill>
              <a:schemeClr val="tx1"/>
            </a:solidFill>
          </a:ln>
        </p:spPr>
      </p:pic>
      <p:pic>
        <p:nvPicPr>
          <p:cNvPr id="7" name="Bilde 6" descr="Et bilde som inneholder person, klær, kvinne, smilende&#10;&#10;Automatisk generert beskrivelse">
            <a:extLst>
              <a:ext uri="{FF2B5EF4-FFF2-40B4-BE49-F238E27FC236}">
                <a16:creationId xmlns:a16="http://schemas.microsoft.com/office/drawing/2014/main" id="{B7F1278D-6E38-5208-F999-11DFA272397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9019" y="2179700"/>
            <a:ext cx="1653206" cy="2024642"/>
          </a:xfrm>
          <a:prstGeom prst="rect">
            <a:avLst/>
          </a:prstGeom>
          <a:ln>
            <a:solidFill>
              <a:schemeClr val="tx1"/>
            </a:solidFill>
          </a:ln>
        </p:spPr>
      </p:pic>
      <p:pic>
        <p:nvPicPr>
          <p:cNvPr id="23" name="Bilde 22" descr="Et bilde som inneholder person, vegg, innendørs, har på seg&#10;&#10;Automatisk generert beskrivelse">
            <a:extLst>
              <a:ext uri="{FF2B5EF4-FFF2-40B4-BE49-F238E27FC236}">
                <a16:creationId xmlns:a16="http://schemas.microsoft.com/office/drawing/2014/main" id="{A2E1CBE4-8E01-C16D-61E3-4A47CE95312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00942" y="2180583"/>
            <a:ext cx="1815489" cy="2082800"/>
          </a:xfrm>
          <a:prstGeom prst="rect">
            <a:avLst/>
          </a:prstGeom>
          <a:ln>
            <a:solidFill>
              <a:schemeClr val="tx1"/>
            </a:solidFill>
          </a:ln>
        </p:spPr>
      </p:pic>
      <p:sp>
        <p:nvSpPr>
          <p:cNvPr id="3" name="Tittel 1">
            <a:extLst>
              <a:ext uri="{FF2B5EF4-FFF2-40B4-BE49-F238E27FC236}">
                <a16:creationId xmlns:a16="http://schemas.microsoft.com/office/drawing/2014/main" id="{CFA7A2FA-0D6C-CF4F-65B7-7B312DD11744}"/>
              </a:ext>
            </a:extLst>
          </p:cNvPr>
          <p:cNvSpPr txBox="1">
            <a:spLocks/>
          </p:cNvSpPr>
          <p:nvPr/>
        </p:nvSpPr>
        <p:spPr>
          <a:xfrm>
            <a:off x="5083501" y="379711"/>
            <a:ext cx="10515600" cy="888737"/>
          </a:xfrm>
          <a:prstGeom prst="rect">
            <a:avLst/>
          </a:prstGeom>
        </p:spPr>
        <p:txBody>
          <a:bodyPr vert="horz" wrap="square" lIns="91440" tIns="45720" rIns="91440" bIns="45720" numCol="1" anchor="b" anchorCtr="0" compatLnSpc="1">
            <a:prstTxWarp prst="textNoShape">
              <a:avLst/>
            </a:prstTxWarp>
            <a:noAutofit/>
          </a:bodyPr>
          <a:lstStyle>
            <a:lvl1pPr algn="l" rtl="0" eaLnBrk="0" fontAlgn="base" hangingPunct="0">
              <a:lnSpc>
                <a:spcPct val="90000"/>
              </a:lnSpc>
              <a:spcBef>
                <a:spcPct val="0"/>
              </a:spcBef>
              <a:spcAft>
                <a:spcPct val="0"/>
              </a:spcAft>
              <a:defRPr sz="2800" b="1" kern="1200" cap="all">
                <a:solidFill>
                  <a:schemeClr val="tx1"/>
                </a:solidFill>
                <a:latin typeface="Calibri"/>
                <a:ea typeface="ＭＳ Ｐゴシック" charset="0"/>
                <a:cs typeface="ＭＳ Ｐゴシック" charset="0"/>
              </a:defRPr>
            </a:lvl1pPr>
            <a:lvl2pPr algn="l" rtl="0" eaLnBrk="0" fontAlgn="base" hangingPunct="0">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2pPr>
            <a:lvl3pPr algn="l" rtl="0" eaLnBrk="0" fontAlgn="base" hangingPunct="0">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3pPr>
            <a:lvl4pPr algn="l" rtl="0" eaLnBrk="0" fontAlgn="base" hangingPunct="0">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4pPr>
            <a:lvl5pPr algn="l" rtl="0" eaLnBrk="0" fontAlgn="base" hangingPunct="0">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5pPr>
            <a:lvl6pPr marL="457200" algn="l" rtl="0" fontAlgn="base">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6pPr>
            <a:lvl7pPr marL="914400" algn="l" rtl="0" fontAlgn="base">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7pPr>
            <a:lvl8pPr marL="1371600" algn="l" rtl="0" fontAlgn="base">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8pPr>
            <a:lvl9pPr marL="1828800" algn="l" rtl="0" fontAlgn="base">
              <a:lnSpc>
                <a:spcPct val="90000"/>
              </a:lnSpc>
              <a:spcBef>
                <a:spcPct val="0"/>
              </a:spcBef>
              <a:spcAft>
                <a:spcPct val="0"/>
              </a:spcAft>
              <a:defRPr sz="3600" b="1">
                <a:solidFill>
                  <a:schemeClr val="tx1"/>
                </a:solidFill>
                <a:latin typeface="Calibri" charset="0"/>
                <a:ea typeface="ＭＳ Ｐゴシック" charset="0"/>
                <a:cs typeface="ＭＳ Ｐゴシック" charset="0"/>
              </a:defRPr>
            </a:lvl9pPr>
          </a:lstStyle>
          <a:p>
            <a:r>
              <a:rPr lang="nb-NO" dirty="0">
                <a:solidFill>
                  <a:schemeClr val="bg1">
                    <a:lumMod val="95000"/>
                  </a:schemeClr>
                </a:solidFill>
              </a:rPr>
              <a:t>THE </a:t>
            </a:r>
            <a:r>
              <a:rPr lang="nb-NO" dirty="0" err="1">
                <a:solidFill>
                  <a:schemeClr val="bg1">
                    <a:lumMod val="95000"/>
                  </a:schemeClr>
                </a:solidFill>
              </a:rPr>
              <a:t>board</a:t>
            </a:r>
            <a:endParaRPr lang="nb-NO" dirty="0">
              <a:solidFill>
                <a:schemeClr val="bg1">
                  <a:lumMod val="95000"/>
                </a:schemeClr>
              </a:solidFill>
            </a:endParaRPr>
          </a:p>
        </p:txBody>
      </p:sp>
    </p:spTree>
    <p:extLst>
      <p:ext uri="{BB962C8B-B14F-4D97-AF65-F5344CB8AC3E}">
        <p14:creationId xmlns:p14="http://schemas.microsoft.com/office/powerpoint/2010/main" val="563600833"/>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083501" y="379711"/>
            <a:ext cx="10515600" cy="888737"/>
          </a:xfrm>
        </p:spPr>
        <p:txBody>
          <a:bodyPr/>
          <a:lstStyle/>
          <a:p>
            <a:r>
              <a:rPr lang="nb-NO" dirty="0">
                <a:solidFill>
                  <a:schemeClr val="bg1">
                    <a:lumMod val="95000"/>
                  </a:schemeClr>
                </a:solidFill>
              </a:rPr>
              <a:t>THE </a:t>
            </a:r>
            <a:r>
              <a:rPr lang="nb-NO" dirty="0" err="1">
                <a:solidFill>
                  <a:schemeClr val="bg1">
                    <a:lumMod val="95000"/>
                  </a:schemeClr>
                </a:solidFill>
              </a:rPr>
              <a:t>Advisory</a:t>
            </a:r>
            <a:r>
              <a:rPr lang="nb-NO" dirty="0">
                <a:solidFill>
                  <a:schemeClr val="bg1">
                    <a:lumMod val="95000"/>
                  </a:schemeClr>
                </a:solidFill>
              </a:rPr>
              <a:t> </a:t>
            </a:r>
            <a:r>
              <a:rPr lang="nb-NO" dirty="0" err="1">
                <a:solidFill>
                  <a:schemeClr val="bg1">
                    <a:lumMod val="95000"/>
                  </a:schemeClr>
                </a:solidFill>
              </a:rPr>
              <a:t>board</a:t>
            </a:r>
            <a:endParaRPr lang="nb-NO" dirty="0">
              <a:solidFill>
                <a:schemeClr val="bg1">
                  <a:lumMod val="95000"/>
                </a:schemeClr>
              </a:solidFill>
            </a:endParaRPr>
          </a:p>
        </p:txBody>
      </p:sp>
      <p:pic>
        <p:nvPicPr>
          <p:cNvPr id="4" name="Plassholder for innhold 3"/>
          <p:cNvPicPr>
            <a:picLocks noGrp="1" noChangeAspect="1"/>
          </p:cNvPicPr>
          <p:nvPr>
            <p:ph idx="1"/>
          </p:nvPr>
        </p:nvPicPr>
        <p:blipFill rotWithShape="1">
          <a:blip r:embed="rId3">
            <a:extLst>
              <a:ext uri="{28A0092B-C50C-407E-A947-70E740481C1C}">
                <a14:useLocalDpi xmlns:a14="http://schemas.microsoft.com/office/drawing/2010/main" val="0"/>
              </a:ext>
            </a:extLst>
          </a:blip>
          <a:srcRect l="1626" r="2439"/>
          <a:stretch/>
        </p:blipFill>
        <p:spPr>
          <a:xfrm>
            <a:off x="1610078" y="1713321"/>
            <a:ext cx="1239737" cy="1026139"/>
          </a:xfrm>
          <a:ln>
            <a:solidFill>
              <a:schemeClr val="tx1"/>
            </a:solidFill>
          </a:ln>
        </p:spPr>
      </p:pic>
      <p:pic>
        <p:nvPicPr>
          <p:cNvPr id="3" name="Bilde 2"/>
          <p:cNvPicPr>
            <a:picLocks noChangeAspect="1"/>
          </p:cNvPicPr>
          <p:nvPr/>
        </p:nvPicPr>
        <p:blipFill rotWithShape="1">
          <a:blip r:embed="rId4">
            <a:extLst>
              <a:ext uri="{28A0092B-C50C-407E-A947-70E740481C1C}">
                <a14:useLocalDpi xmlns:a14="http://schemas.microsoft.com/office/drawing/2010/main" val="0"/>
              </a:ext>
            </a:extLst>
          </a:blip>
          <a:srcRect l="1" t="19176" r="84" b="24616"/>
          <a:stretch/>
        </p:blipFill>
        <p:spPr>
          <a:xfrm>
            <a:off x="323424" y="1718853"/>
            <a:ext cx="1249591" cy="1021673"/>
          </a:xfrm>
          <a:prstGeom prst="rect">
            <a:avLst/>
          </a:prstGeom>
          <a:ln>
            <a:solidFill>
              <a:schemeClr val="tx1"/>
            </a:solidFill>
          </a:ln>
        </p:spPr>
      </p:pic>
      <p:pic>
        <p:nvPicPr>
          <p:cNvPr id="8" name="Bilde 7"/>
          <p:cNvPicPr>
            <a:picLocks noChangeAspect="1"/>
          </p:cNvPicPr>
          <p:nvPr/>
        </p:nvPicPr>
        <p:blipFill rotWithShape="1">
          <a:blip r:embed="rId5"/>
          <a:srcRect l="26761" t="5478" r="12070" b="23974"/>
          <a:stretch/>
        </p:blipFill>
        <p:spPr>
          <a:xfrm>
            <a:off x="5325047" y="1716465"/>
            <a:ext cx="1324993" cy="1053837"/>
          </a:xfrm>
          <a:prstGeom prst="rect">
            <a:avLst/>
          </a:prstGeom>
          <a:ln>
            <a:solidFill>
              <a:schemeClr val="tx1"/>
            </a:solidFill>
          </a:ln>
        </p:spPr>
      </p:pic>
      <p:sp>
        <p:nvSpPr>
          <p:cNvPr id="9" name="TekstSylinder 8"/>
          <p:cNvSpPr txBox="1"/>
          <p:nvPr/>
        </p:nvSpPr>
        <p:spPr>
          <a:xfrm>
            <a:off x="197965" y="2786905"/>
            <a:ext cx="1412113" cy="4093428"/>
          </a:xfrm>
          <a:prstGeom prst="rect">
            <a:avLst/>
          </a:prstGeom>
          <a:noFill/>
        </p:spPr>
        <p:txBody>
          <a:bodyPr wrap="square" rtlCol="0">
            <a:spAutoFit/>
          </a:bodyPr>
          <a:lstStyle/>
          <a:p>
            <a:r>
              <a:rPr lang="en-US" sz="1400" dirty="0"/>
              <a:t>JIM PULCRANO </a:t>
            </a:r>
            <a:r>
              <a:rPr lang="en-US" sz="1200" dirty="0"/>
              <a:t>has more than 35 years of business and management experience  and has been teaching as professor for over 20 years at IMD, one of the world´s top business schools. He holds positions on several Advisory Boards and has extensive experience guiding startups, in Europe and Silicon Valley.</a:t>
            </a:r>
          </a:p>
          <a:p>
            <a:endParaRPr lang="nb-NO" sz="1200" dirty="0"/>
          </a:p>
          <a:p>
            <a:endParaRPr lang="nb-NO" dirty="0"/>
          </a:p>
        </p:txBody>
      </p:sp>
      <p:sp>
        <p:nvSpPr>
          <p:cNvPr id="10" name="TekstSylinder 9"/>
          <p:cNvSpPr txBox="1"/>
          <p:nvPr/>
        </p:nvSpPr>
        <p:spPr>
          <a:xfrm>
            <a:off x="1615806" y="2793293"/>
            <a:ext cx="1312154" cy="3662541"/>
          </a:xfrm>
          <a:prstGeom prst="rect">
            <a:avLst/>
          </a:prstGeom>
          <a:noFill/>
        </p:spPr>
        <p:txBody>
          <a:bodyPr wrap="square" rtlCol="0">
            <a:spAutoFit/>
          </a:bodyPr>
          <a:lstStyle/>
          <a:p>
            <a:r>
              <a:rPr lang="en-US" sz="1400" dirty="0"/>
              <a:t>NARENDRA TANEJA </a:t>
            </a:r>
            <a:r>
              <a:rPr lang="en-US" sz="1200" dirty="0"/>
              <a:t>is India’s leading expert, thinker and television commentator on national/international policy issues and developments. He is a well-known international speaker on energy issues and serves as spokesperson for the BJP, the ruling party of prime minister Modi.</a:t>
            </a:r>
            <a:endParaRPr lang="en-US" dirty="0"/>
          </a:p>
        </p:txBody>
      </p:sp>
      <p:sp>
        <p:nvSpPr>
          <p:cNvPr id="12" name="TekstSylinder 11"/>
          <p:cNvSpPr txBox="1"/>
          <p:nvPr/>
        </p:nvSpPr>
        <p:spPr>
          <a:xfrm>
            <a:off x="4241782" y="2782773"/>
            <a:ext cx="1226348" cy="3847207"/>
          </a:xfrm>
          <a:prstGeom prst="rect">
            <a:avLst/>
          </a:prstGeom>
          <a:noFill/>
        </p:spPr>
        <p:txBody>
          <a:bodyPr wrap="square" rtlCol="0">
            <a:spAutoFit/>
          </a:bodyPr>
          <a:lstStyle/>
          <a:p>
            <a:r>
              <a:rPr lang="en-US" sz="1400" dirty="0"/>
              <a:t>PER ESPEN </a:t>
            </a:r>
          </a:p>
          <a:p>
            <a:r>
              <a:rPr lang="en-US" sz="1400" dirty="0"/>
              <a:t>STOKNES is </a:t>
            </a:r>
            <a:r>
              <a:rPr lang="en-US" sz="1200" dirty="0"/>
              <a:t>educated as a psychologist at the University of Oslo. He  has a also studied organizational theory, philosophy and mythology. He has worked both as a clinical psychologist and organizational psychologist and holds a senior lecturer position at BI Norwegian Business School.</a:t>
            </a:r>
          </a:p>
        </p:txBody>
      </p:sp>
      <p:sp>
        <p:nvSpPr>
          <p:cNvPr id="14" name="TekstSylinder 13"/>
          <p:cNvSpPr txBox="1"/>
          <p:nvPr/>
        </p:nvSpPr>
        <p:spPr>
          <a:xfrm>
            <a:off x="5354909" y="2777513"/>
            <a:ext cx="1427044" cy="4031873"/>
          </a:xfrm>
          <a:prstGeom prst="rect">
            <a:avLst/>
          </a:prstGeom>
          <a:noFill/>
        </p:spPr>
        <p:txBody>
          <a:bodyPr wrap="square" rtlCol="0">
            <a:spAutoFit/>
          </a:bodyPr>
          <a:lstStyle/>
          <a:p>
            <a:r>
              <a:rPr lang="nb-NO" sz="1400" dirty="0"/>
              <a:t>FRODE EILERTSEN </a:t>
            </a:r>
            <a:r>
              <a:rPr lang="nb-NO" sz="1200" dirty="0"/>
              <a:t>is </a:t>
            </a:r>
            <a:r>
              <a:rPr lang="en-US" sz="1200" dirty="0"/>
              <a:t>senior  business executive with unique/ extensive experience from almost two decades of leadership in telecom, Internet and digital media, as CEO, EVP, CPO, investor, entrepreneur, and management consultant in both young, rapidly growing organizations and publicly traded multinational corporations.</a:t>
            </a:r>
          </a:p>
        </p:txBody>
      </p:sp>
      <p:sp>
        <p:nvSpPr>
          <p:cNvPr id="13" name="TekstSylinder 12"/>
          <p:cNvSpPr txBox="1"/>
          <p:nvPr/>
        </p:nvSpPr>
        <p:spPr>
          <a:xfrm>
            <a:off x="2917975" y="2776384"/>
            <a:ext cx="1312154" cy="4001095"/>
          </a:xfrm>
          <a:prstGeom prst="rect">
            <a:avLst/>
          </a:prstGeom>
          <a:noFill/>
        </p:spPr>
        <p:txBody>
          <a:bodyPr wrap="square" rtlCol="0">
            <a:spAutoFit/>
          </a:bodyPr>
          <a:lstStyle/>
          <a:p>
            <a:r>
              <a:rPr lang="en-US" sz="1400" dirty="0"/>
              <a:t>SILVIJA SERES is </a:t>
            </a:r>
            <a:r>
              <a:rPr lang="en-US" sz="1200" dirty="0"/>
              <a:t>a MBA graduate from INSEAD, and a PhD and Prize Fellow from Oxford University. She has work experience as department manager in software companies like Microsoft and FAST and extensive knowledge and interest in digital disruption. She is board member in several large public companies.</a:t>
            </a:r>
            <a:endParaRPr lang="nb-NO" dirty="0"/>
          </a:p>
        </p:txBody>
      </p:sp>
      <p:pic>
        <p:nvPicPr>
          <p:cNvPr id="15" name="Bild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44002" y="1709631"/>
            <a:ext cx="1018792" cy="1053838"/>
          </a:xfrm>
          <a:prstGeom prst="rect">
            <a:avLst/>
          </a:prstGeom>
        </p:spPr>
      </p:pic>
      <p:sp>
        <p:nvSpPr>
          <p:cNvPr id="16" name="TekstSylinder 15">
            <a:extLst>
              <a:ext uri="{FF2B5EF4-FFF2-40B4-BE49-F238E27FC236}">
                <a16:creationId xmlns:a16="http://schemas.microsoft.com/office/drawing/2014/main" id="{14D9A74A-491F-E444-AAE3-90FCFE5455E8}"/>
              </a:ext>
            </a:extLst>
          </p:cNvPr>
          <p:cNvSpPr txBox="1"/>
          <p:nvPr/>
        </p:nvSpPr>
        <p:spPr>
          <a:xfrm>
            <a:off x="6649797" y="2763700"/>
            <a:ext cx="1450037" cy="4216539"/>
          </a:xfrm>
          <a:prstGeom prst="rect">
            <a:avLst/>
          </a:prstGeom>
          <a:noFill/>
        </p:spPr>
        <p:txBody>
          <a:bodyPr wrap="square" rtlCol="0">
            <a:spAutoFit/>
          </a:bodyPr>
          <a:lstStyle/>
          <a:p>
            <a:r>
              <a:rPr lang="nb-NO" sz="1400" dirty="0"/>
              <a:t>JACOB SCHRAM </a:t>
            </a:r>
            <a:r>
              <a:rPr lang="nb-NO" sz="1200" dirty="0"/>
              <a:t>has </a:t>
            </a:r>
            <a:r>
              <a:rPr lang="en" sz="1200" dirty="0"/>
              <a:t>30 years of experience from some of the world's largest companies; McKinsey &amp; Company, McDonald's, Statoil Fuel &amp; Retail/Circle K and now Norwegian Airlines. Schram was awarded the 2017 NACS Insight European Industry Leader of the Year Award, and is the author of “T</a:t>
            </a:r>
            <a:r>
              <a:rPr lang="nb-NO" sz="1200" dirty="0"/>
              <a:t>h</a:t>
            </a:r>
            <a:r>
              <a:rPr lang="en" sz="1200" dirty="0"/>
              <a:t>e Essence of Business”.</a:t>
            </a:r>
          </a:p>
          <a:p>
            <a:endParaRPr lang="en" sz="1200" dirty="0"/>
          </a:p>
          <a:p>
            <a:endParaRPr lang="nb-NO" sz="1400" dirty="0"/>
          </a:p>
        </p:txBody>
      </p:sp>
      <p:pic>
        <p:nvPicPr>
          <p:cNvPr id="18" name="Bilde 17" descr="Et bilde som inneholder person, mann, slips, dress&#10;&#10;Automatisk generert beskrivelse">
            <a:extLst>
              <a:ext uri="{FF2B5EF4-FFF2-40B4-BE49-F238E27FC236}">
                <a16:creationId xmlns:a16="http://schemas.microsoft.com/office/drawing/2014/main" id="{33B1ABF4-4EC1-7044-9A09-4C6C9678E3C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10053" y="1699472"/>
            <a:ext cx="1300316" cy="1053837"/>
          </a:xfrm>
          <a:prstGeom prst="rect">
            <a:avLst/>
          </a:prstGeom>
          <a:ln>
            <a:solidFill>
              <a:schemeClr val="tx1"/>
            </a:solidFill>
          </a:ln>
        </p:spPr>
      </p:pic>
      <p:pic>
        <p:nvPicPr>
          <p:cNvPr id="21" name="Bilde 20" descr="Et bilde som inneholder person, mann, slips, smilende&#10;&#10;Automatisk generert beskrivelse">
            <a:extLst>
              <a:ext uri="{FF2B5EF4-FFF2-40B4-BE49-F238E27FC236}">
                <a16:creationId xmlns:a16="http://schemas.microsoft.com/office/drawing/2014/main" id="{A46D5435-F860-444D-AF90-E1DBDB82B03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58967" y="1703825"/>
            <a:ext cx="1232250" cy="1050658"/>
          </a:xfrm>
          <a:prstGeom prst="rect">
            <a:avLst/>
          </a:prstGeom>
          <a:ln>
            <a:solidFill>
              <a:schemeClr val="tx1"/>
            </a:solidFill>
          </a:ln>
        </p:spPr>
      </p:pic>
      <p:pic>
        <p:nvPicPr>
          <p:cNvPr id="23" name="Bilde 22" descr="Et bilde som inneholder person, mann, smilende, foto&#10;&#10;Automatisk generert beskrivelse">
            <a:extLst>
              <a:ext uri="{FF2B5EF4-FFF2-40B4-BE49-F238E27FC236}">
                <a16:creationId xmlns:a16="http://schemas.microsoft.com/office/drawing/2014/main" id="{F7C3629A-68FC-B041-AEBF-31D25DBE369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17788" y="1713752"/>
            <a:ext cx="1160885" cy="1053836"/>
          </a:xfrm>
          <a:prstGeom prst="rect">
            <a:avLst/>
          </a:prstGeom>
        </p:spPr>
      </p:pic>
      <p:cxnSp>
        <p:nvCxnSpPr>
          <p:cNvPr id="7" name="Rett linje 6">
            <a:extLst>
              <a:ext uri="{FF2B5EF4-FFF2-40B4-BE49-F238E27FC236}">
                <a16:creationId xmlns:a16="http://schemas.microsoft.com/office/drawing/2014/main" id="{579CFE6F-6F8B-8540-BAEA-70CE9F64F80E}"/>
              </a:ext>
            </a:extLst>
          </p:cNvPr>
          <p:cNvCxnSpPr>
            <a:cxnSpLocks/>
          </p:cNvCxnSpPr>
          <p:nvPr/>
        </p:nvCxnSpPr>
        <p:spPr>
          <a:xfrm flipV="1">
            <a:off x="2849815" y="1698331"/>
            <a:ext cx="3825238" cy="1499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kstSylinder 27">
            <a:extLst>
              <a:ext uri="{FF2B5EF4-FFF2-40B4-BE49-F238E27FC236}">
                <a16:creationId xmlns:a16="http://schemas.microsoft.com/office/drawing/2014/main" id="{0C1DF693-F49C-2849-99C0-4276EBA53ECF}"/>
              </a:ext>
            </a:extLst>
          </p:cNvPr>
          <p:cNvSpPr txBox="1"/>
          <p:nvPr/>
        </p:nvSpPr>
        <p:spPr>
          <a:xfrm>
            <a:off x="7996118" y="2740800"/>
            <a:ext cx="1450037" cy="4185761"/>
          </a:xfrm>
          <a:prstGeom prst="rect">
            <a:avLst/>
          </a:prstGeom>
          <a:noFill/>
        </p:spPr>
        <p:txBody>
          <a:bodyPr wrap="square" rtlCol="0">
            <a:spAutoFit/>
          </a:bodyPr>
          <a:lstStyle/>
          <a:p>
            <a:r>
              <a:rPr lang="nb-NO" sz="1400" dirty="0"/>
              <a:t>ERIK SOLHEIM </a:t>
            </a:r>
            <a:r>
              <a:rPr lang="en-US" sz="1200" dirty="0"/>
              <a:t>is a  global leader on environment and development as well as an experienced peace negotiator. He served as Norwegian minister of Environment. He has chaired the OECD Development Ass. Com. and was Executive Director of UN Environment. Currently he is senior adviser at World Resource Institute and serves as the  CEO of the Plastic </a:t>
            </a:r>
            <a:r>
              <a:rPr lang="en-US" sz="1200" dirty="0" err="1"/>
              <a:t>REVolution</a:t>
            </a:r>
            <a:r>
              <a:rPr lang="en-US" sz="1200" dirty="0"/>
              <a:t> Foundation. </a:t>
            </a:r>
            <a:endParaRPr lang="en-US" sz="1400" dirty="0"/>
          </a:p>
        </p:txBody>
      </p:sp>
      <p:cxnSp>
        <p:nvCxnSpPr>
          <p:cNvPr id="17" name="Rett linje 16">
            <a:extLst>
              <a:ext uri="{FF2B5EF4-FFF2-40B4-BE49-F238E27FC236}">
                <a16:creationId xmlns:a16="http://schemas.microsoft.com/office/drawing/2014/main" id="{A0B56E5E-A4B8-7C46-933E-CD8B7AFC72CE}"/>
              </a:ext>
            </a:extLst>
          </p:cNvPr>
          <p:cNvCxnSpPr>
            <a:cxnSpLocks/>
          </p:cNvCxnSpPr>
          <p:nvPr/>
        </p:nvCxnSpPr>
        <p:spPr>
          <a:xfrm>
            <a:off x="2927960" y="2775278"/>
            <a:ext cx="357770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kstSylinder 21">
            <a:extLst>
              <a:ext uri="{FF2B5EF4-FFF2-40B4-BE49-F238E27FC236}">
                <a16:creationId xmlns:a16="http://schemas.microsoft.com/office/drawing/2014/main" id="{4C293CE9-D367-EF8A-F221-E92E199D8025}"/>
              </a:ext>
            </a:extLst>
          </p:cNvPr>
          <p:cNvSpPr txBox="1"/>
          <p:nvPr/>
        </p:nvSpPr>
        <p:spPr>
          <a:xfrm>
            <a:off x="9365638" y="2768740"/>
            <a:ext cx="1406532" cy="4031873"/>
          </a:xfrm>
          <a:prstGeom prst="rect">
            <a:avLst/>
          </a:prstGeom>
          <a:noFill/>
        </p:spPr>
        <p:txBody>
          <a:bodyPr wrap="square" rtlCol="0">
            <a:spAutoFit/>
          </a:bodyPr>
          <a:lstStyle/>
          <a:p>
            <a:r>
              <a:rPr lang="nb-NO" sz="1400" dirty="0"/>
              <a:t>KETIL </a:t>
            </a:r>
            <a:r>
              <a:rPr lang="en-US" sz="1400" dirty="0"/>
              <a:t>SOLVIK-OLSEN </a:t>
            </a:r>
            <a:r>
              <a:rPr lang="en-US" sz="1200" dirty="0">
                <a:latin typeface="Calibri" panose="020F0502020204030204" pitchFamily="34" charset="0"/>
                <a:cs typeface="Calibri" panose="020F0502020204030204" pitchFamily="34" charset="0"/>
              </a:rPr>
              <a:t>is CEO of </a:t>
            </a:r>
            <a:r>
              <a:rPr lang="en-US" sz="1200" dirty="0" err="1">
                <a:latin typeface="Calibri" panose="020F0502020204030204" pitchFamily="34" charset="0"/>
                <a:cs typeface="Calibri" panose="020F0502020204030204" pitchFamily="34" charset="0"/>
              </a:rPr>
              <a:t>Seabrokers</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Fundamentering</a:t>
            </a:r>
            <a:r>
              <a:rPr lang="en-US" sz="1200" dirty="0">
                <a:latin typeface="Calibri" panose="020F0502020204030204" pitchFamily="34" charset="0"/>
                <a:cs typeface="Calibri" panose="020F0502020204030204" pitchFamily="34" charset="0"/>
              </a:rPr>
              <a:t>. </a:t>
            </a:r>
          </a:p>
          <a:p>
            <a:r>
              <a:rPr lang="en-US" sz="1200" dirty="0">
                <a:solidFill>
                  <a:srgbClr val="202122"/>
                </a:solidFill>
                <a:latin typeface="Calibri" panose="020F0502020204030204" pitchFamily="34" charset="0"/>
                <a:cs typeface="Calibri" panose="020F0502020204030204" pitchFamily="34" charset="0"/>
              </a:rPr>
              <a:t>He is serving as the Norwegian Progress Party´s </a:t>
            </a:r>
            <a:r>
              <a:rPr lang="en-US" sz="1200" i="0" dirty="0">
                <a:solidFill>
                  <a:srgbClr val="202122"/>
                </a:solidFill>
                <a:effectLst/>
                <a:latin typeface="Calibri" panose="020F0502020204030204" pitchFamily="34" charset="0"/>
                <a:cs typeface="Calibri" panose="020F0502020204030204" pitchFamily="34" charset="0"/>
              </a:rPr>
              <a:t>first deputy leader, and also served as Minister of Transport and Communications in Norway from 2013 to 2018. He is very engaged in different start-ups as well as smart,  mobility/</a:t>
            </a:r>
          </a:p>
          <a:p>
            <a:r>
              <a:rPr lang="en-US" sz="1200" i="0" dirty="0" err="1">
                <a:solidFill>
                  <a:srgbClr val="202122"/>
                </a:solidFill>
                <a:effectLst/>
                <a:latin typeface="Calibri" panose="020F0502020204030204" pitchFamily="34" charset="0"/>
                <a:cs typeface="Calibri" panose="020F0502020204030204" pitchFamily="34" charset="0"/>
              </a:rPr>
              <a:t>autonomus</a:t>
            </a:r>
            <a:r>
              <a:rPr lang="en-US" sz="1200" i="0" dirty="0">
                <a:solidFill>
                  <a:srgbClr val="202122"/>
                </a:solidFill>
                <a:effectLst/>
                <a:latin typeface="Calibri" panose="020F0502020204030204" pitchFamily="34" charset="0"/>
                <a:cs typeface="Calibri" panose="020F0502020204030204" pitchFamily="34" charset="0"/>
              </a:rPr>
              <a:t> driving on land and at sea.</a:t>
            </a:r>
          </a:p>
          <a:p>
            <a:r>
              <a:rPr lang="en-US" sz="1200" i="0" dirty="0">
                <a:solidFill>
                  <a:srgbClr val="202122"/>
                </a:solidFill>
                <a:effectLst/>
                <a:latin typeface="Calibri" panose="020F0502020204030204" pitchFamily="34" charset="0"/>
                <a:cs typeface="Calibri" panose="020F0502020204030204" pitchFamily="34" charset="0"/>
              </a:rPr>
              <a:t> </a:t>
            </a:r>
            <a:endParaRPr lang="en-US" sz="1400" dirty="0">
              <a:latin typeface="Calibri" panose="020F0502020204030204" pitchFamily="34" charset="0"/>
              <a:cs typeface="Calibri" panose="020F0502020204030204" pitchFamily="34" charset="0"/>
            </a:endParaRPr>
          </a:p>
        </p:txBody>
      </p:sp>
      <p:sp>
        <p:nvSpPr>
          <p:cNvPr id="24" name="TekstSylinder 23">
            <a:extLst>
              <a:ext uri="{FF2B5EF4-FFF2-40B4-BE49-F238E27FC236}">
                <a16:creationId xmlns:a16="http://schemas.microsoft.com/office/drawing/2014/main" id="{4880D599-BF56-9FCD-A94F-2FCEA30E063A}"/>
              </a:ext>
            </a:extLst>
          </p:cNvPr>
          <p:cNvSpPr txBox="1"/>
          <p:nvPr/>
        </p:nvSpPr>
        <p:spPr>
          <a:xfrm>
            <a:off x="10673968" y="2766200"/>
            <a:ext cx="1391716" cy="4001095"/>
          </a:xfrm>
          <a:prstGeom prst="rect">
            <a:avLst/>
          </a:prstGeom>
          <a:noFill/>
        </p:spPr>
        <p:txBody>
          <a:bodyPr wrap="square" rtlCol="0">
            <a:spAutoFit/>
          </a:bodyPr>
          <a:lstStyle/>
          <a:p>
            <a:r>
              <a:rPr lang="nb-NO" sz="1400" dirty="0"/>
              <a:t>TOM NYSTED</a:t>
            </a:r>
            <a:endParaRPr lang="nb-NO" sz="1200" dirty="0"/>
          </a:p>
          <a:p>
            <a:r>
              <a:rPr lang="en-US" sz="1200" kern="0" dirty="0">
                <a:solidFill>
                  <a:srgbClr val="202124"/>
                </a:solidFill>
                <a:effectLst/>
                <a:latin typeface="inherit"/>
                <a:ea typeface="Times New Roman" panose="02020603050405020304" pitchFamily="18" charset="0"/>
                <a:cs typeface="Courier New" panose="02070309020205020404" pitchFamily="49" charset="0"/>
              </a:rPr>
              <a:t>is a senior, independent business advisor. He served for 13 years as CEO of </a:t>
            </a:r>
            <a:r>
              <a:rPr lang="en-US" sz="1200" kern="0" dirty="0" err="1">
                <a:solidFill>
                  <a:srgbClr val="202124"/>
                </a:solidFill>
                <a:effectLst/>
                <a:latin typeface="inherit"/>
                <a:ea typeface="Times New Roman" panose="02020603050405020304" pitchFamily="18" charset="0"/>
                <a:cs typeface="Courier New" panose="02070309020205020404" pitchFamily="49" charset="0"/>
              </a:rPr>
              <a:t>Agder</a:t>
            </a:r>
            <a:r>
              <a:rPr lang="en-US" sz="1200" kern="0" dirty="0">
                <a:solidFill>
                  <a:srgbClr val="202124"/>
                </a:solidFill>
                <a:effectLst/>
                <a:latin typeface="inherit"/>
                <a:ea typeface="Times New Roman" panose="02020603050405020304" pitchFamily="18" charset="0"/>
                <a:cs typeface="Courier New" panose="02070309020205020404" pitchFamily="49" charset="0"/>
              </a:rPr>
              <a:t> </a:t>
            </a:r>
            <a:r>
              <a:rPr lang="en-US" sz="1200" kern="0" dirty="0" err="1">
                <a:solidFill>
                  <a:srgbClr val="202124"/>
                </a:solidFill>
                <a:effectLst/>
                <a:latin typeface="inherit"/>
                <a:ea typeface="Times New Roman" panose="02020603050405020304" pitchFamily="18" charset="0"/>
                <a:cs typeface="Courier New" panose="02070309020205020404" pitchFamily="49" charset="0"/>
              </a:rPr>
              <a:t>Energi</a:t>
            </a:r>
            <a:r>
              <a:rPr lang="en-US" sz="1200" kern="0" dirty="0">
                <a:solidFill>
                  <a:srgbClr val="202124"/>
                </a:solidFill>
                <a:effectLst/>
                <a:latin typeface="inherit"/>
                <a:ea typeface="Times New Roman" panose="02020603050405020304" pitchFamily="18" charset="0"/>
                <a:cs typeface="Courier New" panose="02070309020205020404" pitchFamily="49" charset="0"/>
              </a:rPr>
              <a:t>, one of Norway´ leading energy companies. He is an engineer, and an experience business leader who has held top management positions in companies like Norske Shell, </a:t>
            </a:r>
            <a:r>
              <a:rPr lang="en-US" sz="1200" kern="0" dirty="0" err="1">
                <a:solidFill>
                  <a:srgbClr val="202124"/>
                </a:solidFill>
                <a:effectLst/>
                <a:latin typeface="inherit"/>
                <a:ea typeface="Times New Roman" panose="02020603050405020304" pitchFamily="18" charset="0"/>
                <a:cs typeface="Courier New" panose="02070309020205020404" pitchFamily="49" charset="0"/>
              </a:rPr>
              <a:t>Elektrisk</a:t>
            </a:r>
            <a:r>
              <a:rPr lang="en-US" sz="1200" kern="0" dirty="0">
                <a:solidFill>
                  <a:srgbClr val="202124"/>
                </a:solidFill>
                <a:effectLst/>
                <a:latin typeface="inherit"/>
                <a:ea typeface="Times New Roman" panose="02020603050405020304" pitchFamily="18" charset="0"/>
                <a:cs typeface="Courier New" panose="02070309020205020404" pitchFamily="49" charset="0"/>
              </a:rPr>
              <a:t> Bureau. Telenor, ABB and </a:t>
            </a:r>
            <a:r>
              <a:rPr lang="en-US" sz="1200" kern="0" dirty="0" err="1">
                <a:solidFill>
                  <a:srgbClr val="202124"/>
                </a:solidFill>
                <a:effectLst/>
                <a:latin typeface="inherit"/>
                <a:ea typeface="Times New Roman" panose="02020603050405020304" pitchFamily="18" charset="0"/>
                <a:cs typeface="Courier New" panose="02070309020205020404" pitchFamily="49" charset="0"/>
              </a:rPr>
              <a:t>Storebrand</a:t>
            </a:r>
            <a:r>
              <a:rPr lang="en-US" sz="1200" kern="0" dirty="0">
                <a:solidFill>
                  <a:srgbClr val="202124"/>
                </a:solidFill>
                <a:effectLst/>
                <a:latin typeface="inherit"/>
                <a:ea typeface="Times New Roman" panose="02020603050405020304" pitchFamily="18" charset="0"/>
                <a:cs typeface="Courier New" panose="02070309020205020404" pitchFamily="49" charset="0"/>
              </a:rPr>
              <a:t>.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200" dirty="0"/>
              <a:t>. </a:t>
            </a:r>
          </a:p>
        </p:txBody>
      </p:sp>
      <p:pic>
        <p:nvPicPr>
          <p:cNvPr id="26" name="Bilde 25" descr="Et bilde som inneholder person, mann, dress, poserer&#10;&#10;Automatisk generert beskrivelse">
            <a:extLst>
              <a:ext uri="{FF2B5EF4-FFF2-40B4-BE49-F238E27FC236}">
                <a16:creationId xmlns:a16="http://schemas.microsoft.com/office/drawing/2014/main" id="{C7F568ED-E091-C941-20EF-F622A064716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353037" y="1708491"/>
            <a:ext cx="1218095" cy="1054978"/>
          </a:xfrm>
          <a:prstGeom prst="rect">
            <a:avLst/>
          </a:prstGeom>
          <a:ln>
            <a:solidFill>
              <a:schemeClr val="tx1"/>
            </a:solidFill>
          </a:ln>
        </p:spPr>
      </p:pic>
      <p:pic>
        <p:nvPicPr>
          <p:cNvPr id="29" name="Bilde 28" descr="Et bilde som inneholder mann, person, innendørs, har på seg&#10;&#10;Automatisk generert beskrivelse">
            <a:extLst>
              <a:ext uri="{FF2B5EF4-FFF2-40B4-BE49-F238E27FC236}">
                <a16:creationId xmlns:a16="http://schemas.microsoft.com/office/drawing/2014/main" id="{68AE6629-5428-5A00-9BD8-8C8CF813BAE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619097" y="1698331"/>
            <a:ext cx="1181100" cy="1054978"/>
          </a:xfrm>
          <a:prstGeom prst="rect">
            <a:avLst/>
          </a:prstGeom>
        </p:spPr>
      </p:pic>
    </p:spTree>
    <p:extLst>
      <p:ext uri="{BB962C8B-B14F-4D97-AF65-F5344CB8AC3E}">
        <p14:creationId xmlns:p14="http://schemas.microsoft.com/office/powerpoint/2010/main" val="1785438222"/>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C5312-C5A2-5A4C-844C-3E54CD8462C6}"/>
              </a:ext>
            </a:extLst>
          </p:cNvPr>
          <p:cNvSpPr>
            <a:spLocks noGrp="1"/>
          </p:cNvSpPr>
          <p:nvPr>
            <p:ph type="title"/>
          </p:nvPr>
        </p:nvSpPr>
        <p:spPr>
          <a:xfrm>
            <a:off x="5052395" y="437324"/>
            <a:ext cx="10515600" cy="882374"/>
          </a:xfrm>
        </p:spPr>
        <p:txBody>
          <a:bodyPr/>
          <a:lstStyle/>
          <a:p>
            <a:r>
              <a:rPr lang="nb-NO" dirty="0">
                <a:solidFill>
                  <a:schemeClr val="bg1">
                    <a:lumMod val="95000"/>
                  </a:schemeClr>
                </a:solidFill>
              </a:rPr>
              <a:t>HOW WE DO IT </a:t>
            </a:r>
            <a:r>
              <a:rPr lang="nb-NO" dirty="0" err="1">
                <a:solidFill>
                  <a:schemeClr val="bg1">
                    <a:lumMod val="95000"/>
                  </a:schemeClr>
                </a:solidFill>
              </a:rPr>
              <a:t>todAY</a:t>
            </a:r>
            <a:endParaRPr lang="nb-NO" dirty="0">
              <a:solidFill>
                <a:schemeClr val="bg1">
                  <a:lumMod val="95000"/>
                </a:schemeClr>
              </a:solidFill>
            </a:endParaRPr>
          </a:p>
        </p:txBody>
      </p:sp>
      <p:sp>
        <p:nvSpPr>
          <p:cNvPr id="3" name="Content Placeholder 2">
            <a:extLst>
              <a:ext uri="{FF2B5EF4-FFF2-40B4-BE49-F238E27FC236}">
                <a16:creationId xmlns:a16="http://schemas.microsoft.com/office/drawing/2014/main" id="{D2FC784B-DB0C-5C4E-BD1A-348C12A4C319}"/>
              </a:ext>
            </a:extLst>
          </p:cNvPr>
          <p:cNvSpPr>
            <a:spLocks noGrp="1"/>
          </p:cNvSpPr>
          <p:nvPr>
            <p:ph idx="1"/>
          </p:nvPr>
        </p:nvSpPr>
        <p:spPr>
          <a:xfrm>
            <a:off x="1487557" y="2316553"/>
            <a:ext cx="9220199" cy="3171295"/>
          </a:xfrm>
        </p:spPr>
        <p:txBody>
          <a:bodyPr/>
          <a:lstStyle/>
          <a:p>
            <a:pPr>
              <a:buClr>
                <a:srgbClr val="00B050"/>
              </a:buClr>
              <a:buFont typeface="Wingdings" pitchFamily="2" charset="2"/>
              <a:buChar char="ü"/>
            </a:pPr>
            <a:r>
              <a:rPr lang="en-US" sz="2400" u="sng" dirty="0"/>
              <a:t>Multidisciplinary</a:t>
            </a:r>
            <a:r>
              <a:rPr lang="en-US" sz="2400" dirty="0"/>
              <a:t>, competence driven network within smart energy and “related” activities</a:t>
            </a:r>
          </a:p>
          <a:p>
            <a:pPr>
              <a:buClr>
                <a:srgbClr val="00B050"/>
              </a:buClr>
              <a:buFont typeface="Wingdings" pitchFamily="2" charset="2"/>
              <a:buChar char="ü"/>
            </a:pPr>
            <a:r>
              <a:rPr lang="en-US" sz="2400" dirty="0"/>
              <a:t>State of the art </a:t>
            </a:r>
            <a:r>
              <a:rPr lang="en-US" sz="2400" u="sng" dirty="0"/>
              <a:t>interactive sessions </a:t>
            </a:r>
            <a:r>
              <a:rPr lang="en-US" sz="2400" dirty="0"/>
              <a:t>– to bridge research and businesses, for both to move forward</a:t>
            </a:r>
          </a:p>
          <a:p>
            <a:pPr>
              <a:buClr>
                <a:srgbClr val="00B050"/>
              </a:buClr>
              <a:buFont typeface="Wingdings" pitchFamily="2" charset="2"/>
              <a:buChar char="ü"/>
            </a:pPr>
            <a:r>
              <a:rPr lang="en-US" sz="2400" dirty="0"/>
              <a:t>Deep insight in entrepreneurial and innovative businesses </a:t>
            </a:r>
            <a:r>
              <a:rPr lang="en-US" sz="2400" u="sng" dirty="0"/>
              <a:t>worldwide </a:t>
            </a:r>
          </a:p>
          <a:p>
            <a:pPr>
              <a:buClr>
                <a:srgbClr val="00B050"/>
              </a:buClr>
              <a:buFont typeface="Wingdings" pitchFamily="2" charset="2"/>
              <a:buChar char="ü"/>
            </a:pPr>
            <a:r>
              <a:rPr lang="en-US" sz="2400" u="sng" dirty="0"/>
              <a:t>New business opportunities </a:t>
            </a:r>
            <a:r>
              <a:rPr lang="en-US" sz="2400" dirty="0"/>
              <a:t>– bilaterally within the network and/or internationally</a:t>
            </a:r>
          </a:p>
          <a:p>
            <a:endParaRPr lang="en-US" dirty="0"/>
          </a:p>
          <a:p>
            <a:endParaRPr lang="nb-NO" dirty="0"/>
          </a:p>
        </p:txBody>
      </p:sp>
    </p:spTree>
    <p:extLst>
      <p:ext uri="{BB962C8B-B14F-4D97-AF65-F5344CB8AC3E}">
        <p14:creationId xmlns:p14="http://schemas.microsoft.com/office/powerpoint/2010/main" val="3790523227"/>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ssholder for innhold 3">
            <a:extLst>
              <a:ext uri="{FF2B5EF4-FFF2-40B4-BE49-F238E27FC236}">
                <a16:creationId xmlns:a16="http://schemas.microsoft.com/office/drawing/2014/main" id="{377EC670-44E3-7678-1870-13A03C8ED723}"/>
              </a:ext>
            </a:extLst>
          </p:cNvPr>
          <p:cNvGraphicFramePr>
            <a:graphicFrameLocks noGrp="1"/>
          </p:cNvGraphicFramePr>
          <p:nvPr>
            <p:ph idx="1"/>
          </p:nvPr>
        </p:nvGraphicFramePr>
        <p:xfrm>
          <a:off x="-1469478" y="418454"/>
          <a:ext cx="12646616" cy="63543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101BF0AA-2266-083B-C769-3EE301D2B3F6}"/>
              </a:ext>
            </a:extLst>
          </p:cNvPr>
          <p:cNvSpPr>
            <a:spLocks noGrp="1"/>
          </p:cNvSpPr>
          <p:nvPr>
            <p:ph type="title"/>
          </p:nvPr>
        </p:nvSpPr>
        <p:spPr>
          <a:xfrm>
            <a:off x="6354252" y="437324"/>
            <a:ext cx="5858412" cy="882374"/>
          </a:xfrm>
        </p:spPr>
        <p:txBody>
          <a:bodyPr/>
          <a:lstStyle/>
          <a:p>
            <a:r>
              <a:rPr lang="nb-NO" dirty="0">
                <a:solidFill>
                  <a:schemeClr val="bg1">
                    <a:lumMod val="95000"/>
                  </a:schemeClr>
                </a:solidFill>
              </a:rPr>
              <a:t>--- AND THE NEXT STEP</a:t>
            </a:r>
          </a:p>
        </p:txBody>
      </p:sp>
    </p:spTree>
    <p:extLst>
      <p:ext uri="{BB962C8B-B14F-4D97-AF65-F5344CB8AC3E}">
        <p14:creationId xmlns:p14="http://schemas.microsoft.com/office/powerpoint/2010/main" val="4243395667"/>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ssholder for innhold 3">
            <a:extLst>
              <a:ext uri="{FF2B5EF4-FFF2-40B4-BE49-F238E27FC236}">
                <a16:creationId xmlns:a16="http://schemas.microsoft.com/office/drawing/2014/main" id="{377EC670-44E3-7678-1870-13A03C8ED723}"/>
              </a:ext>
            </a:extLst>
          </p:cNvPr>
          <p:cNvGraphicFramePr>
            <a:graphicFrameLocks noGrp="1"/>
          </p:cNvGraphicFramePr>
          <p:nvPr>
            <p:ph idx="1"/>
          </p:nvPr>
        </p:nvGraphicFramePr>
        <p:xfrm>
          <a:off x="-28134" y="185530"/>
          <a:ext cx="12646616" cy="65872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49205755"/>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EB73583A-348E-97A9-E009-242A0A65E19B}"/>
              </a:ext>
            </a:extLst>
          </p:cNvPr>
          <p:cNvGraphicFramePr>
            <a:graphicFrameLocks noGrp="1"/>
          </p:cNvGraphicFramePr>
          <p:nvPr>
            <p:ph idx="1"/>
          </p:nvPr>
        </p:nvGraphicFramePr>
        <p:xfrm>
          <a:off x="1457746" y="1470991"/>
          <a:ext cx="11781182" cy="52210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73C88BCF-525E-817E-6C08-3F5A619F9DC7}"/>
              </a:ext>
            </a:extLst>
          </p:cNvPr>
          <p:cNvSpPr>
            <a:spLocks noGrp="1"/>
          </p:cNvSpPr>
          <p:nvPr>
            <p:ph type="title"/>
          </p:nvPr>
        </p:nvSpPr>
        <p:spPr>
          <a:xfrm>
            <a:off x="3872947" y="165915"/>
            <a:ext cx="5655365" cy="888737"/>
          </a:xfrm>
        </p:spPr>
        <p:txBody>
          <a:bodyPr/>
          <a:lstStyle/>
          <a:p>
            <a:r>
              <a:rPr lang="en-NO" sz="3200" dirty="0">
                <a:solidFill>
                  <a:schemeClr val="bg1">
                    <a:lumMod val="95000"/>
                  </a:schemeClr>
                </a:solidFill>
              </a:rPr>
              <a:t>EXECUTIVE SMART PROGRAM</a:t>
            </a:r>
          </a:p>
        </p:txBody>
      </p:sp>
      <p:sp>
        <p:nvSpPr>
          <p:cNvPr id="7" name="TextBox 6">
            <a:extLst>
              <a:ext uri="{FF2B5EF4-FFF2-40B4-BE49-F238E27FC236}">
                <a16:creationId xmlns:a16="http://schemas.microsoft.com/office/drawing/2014/main" id="{B6C348F1-C4A2-5FD8-495D-3A823E5F4822}"/>
              </a:ext>
            </a:extLst>
          </p:cNvPr>
          <p:cNvSpPr txBox="1"/>
          <p:nvPr/>
        </p:nvSpPr>
        <p:spPr>
          <a:xfrm>
            <a:off x="357809" y="2211766"/>
            <a:ext cx="2118353" cy="369332"/>
          </a:xfrm>
          <a:prstGeom prst="rect">
            <a:avLst/>
          </a:prstGeom>
          <a:noFill/>
        </p:spPr>
        <p:txBody>
          <a:bodyPr wrap="square" rtlCol="0">
            <a:spAutoFit/>
          </a:bodyPr>
          <a:lstStyle/>
          <a:p>
            <a:r>
              <a:rPr lang="nb-NO" dirty="0"/>
              <a:t>NHH</a:t>
            </a:r>
            <a:endParaRPr lang="en-NO" dirty="0"/>
          </a:p>
        </p:txBody>
      </p:sp>
      <p:sp>
        <p:nvSpPr>
          <p:cNvPr id="8" name="Rectangle 7">
            <a:extLst>
              <a:ext uri="{FF2B5EF4-FFF2-40B4-BE49-F238E27FC236}">
                <a16:creationId xmlns:a16="http://schemas.microsoft.com/office/drawing/2014/main" id="{34BA24A3-FBE7-8698-796C-444E034C2454}"/>
              </a:ext>
            </a:extLst>
          </p:cNvPr>
          <p:cNvSpPr/>
          <p:nvPr/>
        </p:nvSpPr>
        <p:spPr>
          <a:xfrm>
            <a:off x="3175607" y="2301218"/>
            <a:ext cx="530087" cy="202096"/>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9" name="TextBox 8">
            <a:extLst>
              <a:ext uri="{FF2B5EF4-FFF2-40B4-BE49-F238E27FC236}">
                <a16:creationId xmlns:a16="http://schemas.microsoft.com/office/drawing/2014/main" id="{FFFA92FD-632E-883C-BE41-6245C697D73B}"/>
              </a:ext>
            </a:extLst>
          </p:cNvPr>
          <p:cNvSpPr txBox="1"/>
          <p:nvPr/>
        </p:nvSpPr>
        <p:spPr>
          <a:xfrm>
            <a:off x="364438" y="2721976"/>
            <a:ext cx="582211" cy="369332"/>
          </a:xfrm>
          <a:prstGeom prst="rect">
            <a:avLst/>
          </a:prstGeom>
          <a:noFill/>
        </p:spPr>
        <p:txBody>
          <a:bodyPr wrap="none" rtlCol="0">
            <a:spAutoFit/>
          </a:bodyPr>
          <a:lstStyle/>
          <a:p>
            <a:r>
              <a:rPr lang="nb-NO" dirty="0"/>
              <a:t>IMD</a:t>
            </a:r>
            <a:endParaRPr lang="en-NO" dirty="0"/>
          </a:p>
        </p:txBody>
      </p:sp>
      <p:sp>
        <p:nvSpPr>
          <p:cNvPr id="10" name="Rectangle 9">
            <a:extLst>
              <a:ext uri="{FF2B5EF4-FFF2-40B4-BE49-F238E27FC236}">
                <a16:creationId xmlns:a16="http://schemas.microsoft.com/office/drawing/2014/main" id="{9B84F82F-AAB4-7F5A-F449-1D7C2FDC38AC}"/>
              </a:ext>
            </a:extLst>
          </p:cNvPr>
          <p:cNvSpPr/>
          <p:nvPr/>
        </p:nvSpPr>
        <p:spPr>
          <a:xfrm>
            <a:off x="3182235" y="2811428"/>
            <a:ext cx="530087" cy="202096"/>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1" name="TextBox 10">
            <a:extLst>
              <a:ext uri="{FF2B5EF4-FFF2-40B4-BE49-F238E27FC236}">
                <a16:creationId xmlns:a16="http://schemas.microsoft.com/office/drawing/2014/main" id="{8BA318C0-303C-E244-42B6-419D1E3DC92C}"/>
              </a:ext>
            </a:extLst>
          </p:cNvPr>
          <p:cNvSpPr txBox="1"/>
          <p:nvPr/>
        </p:nvSpPr>
        <p:spPr>
          <a:xfrm>
            <a:off x="364438" y="3199051"/>
            <a:ext cx="1425390" cy="369332"/>
          </a:xfrm>
          <a:prstGeom prst="rect">
            <a:avLst/>
          </a:prstGeom>
          <a:noFill/>
        </p:spPr>
        <p:txBody>
          <a:bodyPr wrap="none" rtlCol="0">
            <a:spAutoFit/>
          </a:bodyPr>
          <a:lstStyle/>
          <a:p>
            <a:r>
              <a:rPr lang="nb-NO"/>
              <a:t>UC </a:t>
            </a:r>
            <a:r>
              <a:rPr lang="nb-NO" dirty="0"/>
              <a:t>BERKELEY</a:t>
            </a:r>
            <a:endParaRPr lang="en-NO" dirty="0"/>
          </a:p>
        </p:txBody>
      </p:sp>
      <p:sp>
        <p:nvSpPr>
          <p:cNvPr id="12" name="Rectangle 11">
            <a:extLst>
              <a:ext uri="{FF2B5EF4-FFF2-40B4-BE49-F238E27FC236}">
                <a16:creationId xmlns:a16="http://schemas.microsoft.com/office/drawing/2014/main" id="{68BCE1BC-46BF-8ABE-DDDA-728C7DA438C9}"/>
              </a:ext>
            </a:extLst>
          </p:cNvPr>
          <p:cNvSpPr/>
          <p:nvPr/>
        </p:nvSpPr>
        <p:spPr>
          <a:xfrm>
            <a:off x="3182235" y="3288503"/>
            <a:ext cx="530087" cy="20209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3" name="TextBox 12">
            <a:extLst>
              <a:ext uri="{FF2B5EF4-FFF2-40B4-BE49-F238E27FC236}">
                <a16:creationId xmlns:a16="http://schemas.microsoft.com/office/drawing/2014/main" id="{56A93C6A-1AF1-6996-0AC5-659355B6FADC}"/>
              </a:ext>
            </a:extLst>
          </p:cNvPr>
          <p:cNvSpPr txBox="1"/>
          <p:nvPr/>
        </p:nvSpPr>
        <p:spPr>
          <a:xfrm>
            <a:off x="351186" y="3729139"/>
            <a:ext cx="2715039" cy="369332"/>
          </a:xfrm>
          <a:prstGeom prst="rect">
            <a:avLst/>
          </a:prstGeom>
          <a:noFill/>
        </p:spPr>
        <p:txBody>
          <a:bodyPr wrap="none" rtlCol="0">
            <a:spAutoFit/>
          </a:bodyPr>
          <a:lstStyle/>
          <a:p>
            <a:r>
              <a:rPr lang="nb-NO" dirty="0"/>
              <a:t>NORWEGIAN TOP LEADERS</a:t>
            </a:r>
            <a:endParaRPr lang="en-NO" dirty="0"/>
          </a:p>
        </p:txBody>
      </p:sp>
      <p:sp>
        <p:nvSpPr>
          <p:cNvPr id="14" name="Rectangle 13">
            <a:extLst>
              <a:ext uri="{FF2B5EF4-FFF2-40B4-BE49-F238E27FC236}">
                <a16:creationId xmlns:a16="http://schemas.microsoft.com/office/drawing/2014/main" id="{EBB174F7-0B50-C040-0E38-A637724F43F8}"/>
              </a:ext>
            </a:extLst>
          </p:cNvPr>
          <p:cNvSpPr/>
          <p:nvPr/>
        </p:nvSpPr>
        <p:spPr>
          <a:xfrm>
            <a:off x="3168983" y="3818591"/>
            <a:ext cx="530087" cy="202096"/>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3" name="TextBox 10">
            <a:extLst>
              <a:ext uri="{FF2B5EF4-FFF2-40B4-BE49-F238E27FC236}">
                <a16:creationId xmlns:a16="http://schemas.microsoft.com/office/drawing/2014/main" id="{8837FC30-39E5-D814-19F3-4204BEE50164}"/>
              </a:ext>
            </a:extLst>
          </p:cNvPr>
          <p:cNvSpPr txBox="1"/>
          <p:nvPr/>
        </p:nvSpPr>
        <p:spPr>
          <a:xfrm>
            <a:off x="364438" y="4705162"/>
            <a:ext cx="3781908" cy="369332"/>
          </a:xfrm>
          <a:prstGeom prst="rect">
            <a:avLst/>
          </a:prstGeom>
          <a:noFill/>
        </p:spPr>
        <p:txBody>
          <a:bodyPr wrap="square" rtlCol="0">
            <a:spAutoFit/>
          </a:bodyPr>
          <a:lstStyle/>
          <a:p>
            <a:pPr marL="285750" indent="-285750">
              <a:buFont typeface="Wingdings" pitchFamily="2" charset="2"/>
              <a:buChar char="ü"/>
            </a:pPr>
            <a:r>
              <a:rPr lang="nb-NO" dirty="0"/>
              <a:t>2 </a:t>
            </a:r>
            <a:r>
              <a:rPr lang="nb-NO" dirty="0" err="1"/>
              <a:t>modules</a:t>
            </a:r>
            <a:r>
              <a:rPr lang="nb-NO" dirty="0"/>
              <a:t> in Norway and 2 </a:t>
            </a:r>
            <a:r>
              <a:rPr lang="nb-NO" dirty="0" err="1"/>
              <a:t>abroad</a:t>
            </a:r>
            <a:endParaRPr lang="en-NO" dirty="0"/>
          </a:p>
        </p:txBody>
      </p:sp>
      <p:sp>
        <p:nvSpPr>
          <p:cNvPr id="4" name="TextBox 10">
            <a:extLst>
              <a:ext uri="{FF2B5EF4-FFF2-40B4-BE49-F238E27FC236}">
                <a16:creationId xmlns:a16="http://schemas.microsoft.com/office/drawing/2014/main" id="{64089EDE-882F-14D0-BA20-AA3B8C885D6A}"/>
              </a:ext>
            </a:extLst>
          </p:cNvPr>
          <p:cNvSpPr txBox="1"/>
          <p:nvPr/>
        </p:nvSpPr>
        <p:spPr>
          <a:xfrm>
            <a:off x="359178" y="5030988"/>
            <a:ext cx="3443942" cy="369332"/>
          </a:xfrm>
          <a:prstGeom prst="rect">
            <a:avLst/>
          </a:prstGeom>
          <a:noFill/>
        </p:spPr>
        <p:txBody>
          <a:bodyPr wrap="square" rtlCol="0">
            <a:spAutoFit/>
          </a:bodyPr>
          <a:lstStyle/>
          <a:p>
            <a:pPr marL="285750" indent="-285750">
              <a:buFont typeface="Wingdings" pitchFamily="2" charset="2"/>
              <a:buChar char="ü"/>
            </a:pPr>
            <a:r>
              <a:rPr lang="nb-NO" dirty="0"/>
              <a:t>Price per </a:t>
            </a:r>
            <a:r>
              <a:rPr lang="nb-NO" dirty="0" err="1"/>
              <a:t>module</a:t>
            </a:r>
            <a:r>
              <a:rPr lang="nb-NO" dirty="0"/>
              <a:t> </a:t>
            </a:r>
            <a:endParaRPr lang="en-NO" dirty="0"/>
          </a:p>
        </p:txBody>
      </p:sp>
      <p:sp>
        <p:nvSpPr>
          <p:cNvPr id="5" name="TextBox 10">
            <a:extLst>
              <a:ext uri="{FF2B5EF4-FFF2-40B4-BE49-F238E27FC236}">
                <a16:creationId xmlns:a16="http://schemas.microsoft.com/office/drawing/2014/main" id="{4F72073B-2CE9-D1B6-F7D9-14DF67F6E190}"/>
              </a:ext>
            </a:extLst>
          </p:cNvPr>
          <p:cNvSpPr txBox="1"/>
          <p:nvPr/>
        </p:nvSpPr>
        <p:spPr>
          <a:xfrm>
            <a:off x="353918" y="5404109"/>
            <a:ext cx="3443942" cy="369332"/>
          </a:xfrm>
          <a:prstGeom prst="rect">
            <a:avLst/>
          </a:prstGeom>
          <a:noFill/>
        </p:spPr>
        <p:txBody>
          <a:bodyPr wrap="square" rtlCol="0">
            <a:spAutoFit/>
          </a:bodyPr>
          <a:lstStyle/>
          <a:p>
            <a:pPr marL="285750" indent="-285750">
              <a:buFont typeface="Wingdings" pitchFamily="2" charset="2"/>
              <a:buChar char="ü"/>
            </a:pPr>
            <a:r>
              <a:rPr lang="nb-NO" dirty="0" err="1"/>
              <a:t>Every</a:t>
            </a:r>
            <a:r>
              <a:rPr lang="nb-NO" dirty="0"/>
              <a:t> </a:t>
            </a:r>
            <a:r>
              <a:rPr lang="nb-NO" dirty="0" err="1"/>
              <a:t>module</a:t>
            </a:r>
            <a:r>
              <a:rPr lang="nb-NO" dirty="0"/>
              <a:t> 1 – 3+ </a:t>
            </a:r>
            <a:r>
              <a:rPr lang="nb-NO" dirty="0" err="1"/>
              <a:t>days</a:t>
            </a:r>
            <a:endParaRPr lang="en-NO" dirty="0"/>
          </a:p>
        </p:txBody>
      </p:sp>
      <p:sp>
        <p:nvSpPr>
          <p:cNvPr id="15" name="TextBox 10">
            <a:extLst>
              <a:ext uri="{FF2B5EF4-FFF2-40B4-BE49-F238E27FC236}">
                <a16:creationId xmlns:a16="http://schemas.microsoft.com/office/drawing/2014/main" id="{EE6A4235-C236-B76A-17E3-33E69DBD7CFD}"/>
              </a:ext>
            </a:extLst>
          </p:cNvPr>
          <p:cNvSpPr txBox="1"/>
          <p:nvPr/>
        </p:nvSpPr>
        <p:spPr>
          <a:xfrm>
            <a:off x="348658" y="5761467"/>
            <a:ext cx="3781908" cy="646331"/>
          </a:xfrm>
          <a:prstGeom prst="rect">
            <a:avLst/>
          </a:prstGeom>
          <a:noFill/>
        </p:spPr>
        <p:txBody>
          <a:bodyPr wrap="square" rtlCol="0">
            <a:spAutoFit/>
          </a:bodyPr>
          <a:lstStyle/>
          <a:p>
            <a:pPr marL="285750" indent="-285750">
              <a:buFont typeface="Wingdings" pitchFamily="2" charset="2"/>
              <a:buChar char="ü"/>
            </a:pPr>
            <a:r>
              <a:rPr lang="nb-NO" dirty="0" err="1"/>
              <a:t>Exceutive</a:t>
            </a:r>
            <a:r>
              <a:rPr lang="nb-NO" dirty="0"/>
              <a:t> Smart Program Diploma per </a:t>
            </a:r>
            <a:r>
              <a:rPr lang="nb-NO" dirty="0" err="1"/>
              <a:t>module</a:t>
            </a:r>
            <a:r>
              <a:rPr lang="nb-NO" dirty="0"/>
              <a:t>/all</a:t>
            </a:r>
            <a:endParaRPr lang="en-NO" dirty="0"/>
          </a:p>
        </p:txBody>
      </p:sp>
    </p:spTree>
    <p:extLst>
      <p:ext uri="{BB962C8B-B14F-4D97-AF65-F5344CB8AC3E}">
        <p14:creationId xmlns:p14="http://schemas.microsoft.com/office/powerpoint/2010/main" val="381052054"/>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lassholder for bilde 6" descr="/Volumes/Neo Files/Smart Energy Innovation/Utforming/Pics/shutterstock_63825778_5Mb.jpg"/>
          <p:cNvPicPr>
            <a:picLocks noChangeAspect="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7938" y="-884238"/>
            <a:ext cx="12296776" cy="819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0" name="SEI_Logo_NEG.png" descr="/Volumes/Neo Files/Smart Energy Innovation/Utforming/SEN_Logo_Neg.png"/>
          <p:cNvPicPr>
            <a:picLocks noChangeAspect="1"/>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949325" y="554038"/>
            <a:ext cx="2717800" cy="105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1" name="TextBox 1"/>
          <p:cNvSpPr txBox="1">
            <a:spLocks noChangeArrowheads="1"/>
          </p:cNvSpPr>
          <p:nvPr/>
        </p:nvSpPr>
        <p:spPr bwMode="auto">
          <a:xfrm>
            <a:off x="2106613" y="2009775"/>
            <a:ext cx="6610350" cy="26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Clr>
                <a:schemeClr val="accent1"/>
              </a:buClr>
              <a:buFont typeface="Arial" charset="0"/>
              <a:buChar char="•"/>
              <a:defRPr sz="1600">
                <a:solidFill>
                  <a:schemeClr val="tx1"/>
                </a:solidFill>
                <a:latin typeface="Calibri" charset="0"/>
                <a:ea typeface="ＭＳ Ｐゴシック" charset="-128"/>
              </a:defRPr>
            </a:lvl1pPr>
            <a:lvl2pPr marL="742950" indent="-285750">
              <a:lnSpc>
                <a:spcPct val="90000"/>
              </a:lnSpc>
              <a:spcBef>
                <a:spcPts val="500"/>
              </a:spcBef>
              <a:buFont typeface="Palatino Linotype" charset="0"/>
              <a:buChar char="-"/>
              <a:defRPr sz="1600">
                <a:solidFill>
                  <a:schemeClr val="tx1"/>
                </a:solidFill>
                <a:latin typeface="Calibri" charset="0"/>
                <a:ea typeface="ＭＳ Ｐゴシック" charset="-128"/>
              </a:defRPr>
            </a:lvl2pPr>
            <a:lvl3pPr marL="1143000" indent="-228600">
              <a:lnSpc>
                <a:spcPct val="90000"/>
              </a:lnSpc>
              <a:spcBef>
                <a:spcPts val="500"/>
              </a:spcBef>
              <a:buFont typeface="Palatino Linotype" charset="0"/>
              <a:buChar char="-"/>
              <a:defRPr sz="1600">
                <a:solidFill>
                  <a:schemeClr val="tx1"/>
                </a:solidFill>
                <a:latin typeface="Calibri" charset="0"/>
                <a:ea typeface="ＭＳ Ｐゴシック" charset="-128"/>
              </a:defRPr>
            </a:lvl3pPr>
            <a:lvl4pPr marL="1600200" indent="-228600">
              <a:lnSpc>
                <a:spcPct val="90000"/>
              </a:lnSpc>
              <a:spcBef>
                <a:spcPts val="500"/>
              </a:spcBef>
              <a:buFont typeface="Palatino Linotype" charset="0"/>
              <a:buChar char="-"/>
              <a:defRPr sz="1600">
                <a:solidFill>
                  <a:schemeClr val="tx1"/>
                </a:solidFill>
                <a:latin typeface="Calibri" charset="0"/>
                <a:ea typeface="ＭＳ Ｐゴシック" charset="-128"/>
              </a:defRPr>
            </a:lvl4pPr>
            <a:lvl5pPr marL="2057400" indent="-228600">
              <a:lnSpc>
                <a:spcPct val="90000"/>
              </a:lnSpc>
              <a:spcBef>
                <a:spcPts val="500"/>
              </a:spcBef>
              <a:buFont typeface="Palatino Linotype" charset="0"/>
              <a:buChar char="-"/>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9pPr>
          </a:lstStyle>
          <a:p>
            <a:pPr eaLnBrk="1" hangingPunct="1">
              <a:lnSpc>
                <a:spcPct val="100000"/>
              </a:lnSpc>
              <a:spcBef>
                <a:spcPct val="0"/>
              </a:spcBef>
              <a:buClrTx/>
              <a:buFontTx/>
              <a:buNone/>
            </a:pPr>
            <a:r>
              <a:rPr lang="en-US" altLang="nb-NO" sz="4200" b="1" dirty="0"/>
              <a:t>Vision and smart thinking, combined with technology and creativity will lead the way forward</a:t>
            </a:r>
          </a:p>
        </p:txBody>
      </p:sp>
    </p:spTree>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7" name="Plassholder for bilde 6" descr="/Volumes/Neo Files/Smart Energy Innovation/Utforming/Pics/shutterstock_63825778_5Mb.jpg"/>
          <p:cNvPicPr>
            <a:picLocks noChangeAspect="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0" y="-862973"/>
            <a:ext cx="12296776" cy="819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18" name="SEI_Logo_NEG.png" descr="/Volumes/Neo Files/Smart Energy Innovation/Utforming/SEN_Logo_Neg.png"/>
          <p:cNvPicPr>
            <a:picLocks noChangeAspect="1"/>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949325" y="554038"/>
            <a:ext cx="2717800" cy="105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TextBox 1"/>
          <p:cNvSpPr txBox="1">
            <a:spLocks noChangeArrowheads="1"/>
          </p:cNvSpPr>
          <p:nvPr/>
        </p:nvSpPr>
        <p:spPr bwMode="auto">
          <a:xfrm>
            <a:off x="2106613" y="2009775"/>
            <a:ext cx="6610350" cy="26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Clr>
                <a:schemeClr val="accent1"/>
              </a:buClr>
              <a:buFont typeface="Arial" charset="0"/>
              <a:buChar char="•"/>
              <a:defRPr sz="1600">
                <a:solidFill>
                  <a:schemeClr val="tx1"/>
                </a:solidFill>
                <a:latin typeface="Calibri" charset="0"/>
                <a:ea typeface="ＭＳ Ｐゴシック" charset="-128"/>
              </a:defRPr>
            </a:lvl1pPr>
            <a:lvl2pPr marL="742950" indent="-285750">
              <a:lnSpc>
                <a:spcPct val="90000"/>
              </a:lnSpc>
              <a:spcBef>
                <a:spcPts val="500"/>
              </a:spcBef>
              <a:buFont typeface="Palatino Linotype" charset="0"/>
              <a:buChar char="-"/>
              <a:defRPr sz="1600">
                <a:solidFill>
                  <a:schemeClr val="tx1"/>
                </a:solidFill>
                <a:latin typeface="Calibri" charset="0"/>
                <a:ea typeface="ＭＳ Ｐゴシック" charset="-128"/>
              </a:defRPr>
            </a:lvl2pPr>
            <a:lvl3pPr marL="1143000" indent="-228600">
              <a:lnSpc>
                <a:spcPct val="90000"/>
              </a:lnSpc>
              <a:spcBef>
                <a:spcPts val="500"/>
              </a:spcBef>
              <a:buFont typeface="Palatino Linotype" charset="0"/>
              <a:buChar char="-"/>
              <a:defRPr sz="1600">
                <a:solidFill>
                  <a:schemeClr val="tx1"/>
                </a:solidFill>
                <a:latin typeface="Calibri" charset="0"/>
                <a:ea typeface="ＭＳ Ｐゴシック" charset="-128"/>
              </a:defRPr>
            </a:lvl3pPr>
            <a:lvl4pPr marL="1600200" indent="-228600">
              <a:lnSpc>
                <a:spcPct val="90000"/>
              </a:lnSpc>
              <a:spcBef>
                <a:spcPts val="500"/>
              </a:spcBef>
              <a:buFont typeface="Palatino Linotype" charset="0"/>
              <a:buChar char="-"/>
              <a:defRPr sz="1600">
                <a:solidFill>
                  <a:schemeClr val="tx1"/>
                </a:solidFill>
                <a:latin typeface="Calibri" charset="0"/>
                <a:ea typeface="ＭＳ Ｐゴシック" charset="-128"/>
              </a:defRPr>
            </a:lvl4pPr>
            <a:lvl5pPr marL="2057400" indent="-228600">
              <a:lnSpc>
                <a:spcPct val="90000"/>
              </a:lnSpc>
              <a:spcBef>
                <a:spcPts val="500"/>
              </a:spcBef>
              <a:buFont typeface="Palatino Linotype" charset="0"/>
              <a:buChar char="-"/>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9pPr>
          </a:lstStyle>
          <a:p>
            <a:pPr eaLnBrk="1" hangingPunct="1">
              <a:lnSpc>
                <a:spcPct val="100000"/>
              </a:lnSpc>
              <a:spcBef>
                <a:spcPct val="0"/>
              </a:spcBef>
              <a:buClrTx/>
              <a:buFontTx/>
              <a:buNone/>
            </a:pPr>
            <a:r>
              <a:rPr lang="en-US" altLang="nb-NO" sz="4200" b="1"/>
              <a:t>Vision and smart thinking, combined with technology and creativity will lead the way forward</a:t>
            </a:r>
          </a:p>
        </p:txBody>
      </p:sp>
      <p:sp>
        <p:nvSpPr>
          <p:cNvPr id="5" name="TextBox 1">
            <a:extLst>
              <a:ext uri="{FF2B5EF4-FFF2-40B4-BE49-F238E27FC236}">
                <a16:creationId xmlns:a16="http://schemas.microsoft.com/office/drawing/2014/main" id="{3FA4E221-2937-3743-9853-48A1CBF71DB7}"/>
              </a:ext>
            </a:extLst>
          </p:cNvPr>
          <p:cNvSpPr txBox="1">
            <a:spLocks noChangeArrowheads="1"/>
          </p:cNvSpPr>
          <p:nvPr/>
        </p:nvSpPr>
        <p:spPr bwMode="auto">
          <a:xfrm>
            <a:off x="2152688" y="4692721"/>
            <a:ext cx="661035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Clr>
                <a:schemeClr val="accent1"/>
              </a:buClr>
              <a:buFont typeface="Arial" charset="0"/>
              <a:buChar char="•"/>
              <a:defRPr sz="1600">
                <a:solidFill>
                  <a:schemeClr val="tx1"/>
                </a:solidFill>
                <a:latin typeface="Calibri" charset="0"/>
                <a:ea typeface="ＭＳ Ｐゴシック" charset="-128"/>
              </a:defRPr>
            </a:lvl1pPr>
            <a:lvl2pPr marL="742950" indent="-285750">
              <a:lnSpc>
                <a:spcPct val="90000"/>
              </a:lnSpc>
              <a:spcBef>
                <a:spcPts val="500"/>
              </a:spcBef>
              <a:buFont typeface="Palatino Linotype" charset="0"/>
              <a:buChar char="-"/>
              <a:defRPr sz="1600">
                <a:solidFill>
                  <a:schemeClr val="tx1"/>
                </a:solidFill>
                <a:latin typeface="Calibri" charset="0"/>
                <a:ea typeface="ＭＳ Ｐゴシック" charset="-128"/>
              </a:defRPr>
            </a:lvl2pPr>
            <a:lvl3pPr marL="1143000" indent="-228600">
              <a:lnSpc>
                <a:spcPct val="90000"/>
              </a:lnSpc>
              <a:spcBef>
                <a:spcPts val="500"/>
              </a:spcBef>
              <a:buFont typeface="Palatino Linotype" charset="0"/>
              <a:buChar char="-"/>
              <a:defRPr sz="1600">
                <a:solidFill>
                  <a:schemeClr val="tx1"/>
                </a:solidFill>
                <a:latin typeface="Calibri" charset="0"/>
                <a:ea typeface="ＭＳ Ｐゴシック" charset="-128"/>
              </a:defRPr>
            </a:lvl3pPr>
            <a:lvl4pPr marL="1600200" indent="-228600">
              <a:lnSpc>
                <a:spcPct val="90000"/>
              </a:lnSpc>
              <a:spcBef>
                <a:spcPts val="500"/>
              </a:spcBef>
              <a:buFont typeface="Palatino Linotype" charset="0"/>
              <a:buChar char="-"/>
              <a:defRPr sz="1600">
                <a:solidFill>
                  <a:schemeClr val="tx1"/>
                </a:solidFill>
                <a:latin typeface="Calibri" charset="0"/>
                <a:ea typeface="ＭＳ Ｐゴシック" charset="-128"/>
              </a:defRPr>
            </a:lvl4pPr>
            <a:lvl5pPr marL="2057400" indent="-228600">
              <a:lnSpc>
                <a:spcPct val="90000"/>
              </a:lnSpc>
              <a:spcBef>
                <a:spcPts val="500"/>
              </a:spcBef>
              <a:buFont typeface="Palatino Linotype" charset="0"/>
              <a:buChar char="-"/>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Palatino Linotype" charset="0"/>
              <a:buChar char="-"/>
              <a:defRPr sz="1600">
                <a:solidFill>
                  <a:schemeClr val="tx1"/>
                </a:solidFill>
                <a:latin typeface="Calibri" charset="0"/>
                <a:ea typeface="ＭＳ Ｐゴシック" charset="-128"/>
              </a:defRPr>
            </a:lvl9pPr>
          </a:lstStyle>
          <a:p>
            <a:pPr eaLnBrk="1" hangingPunct="1">
              <a:lnSpc>
                <a:spcPct val="100000"/>
              </a:lnSpc>
              <a:spcBef>
                <a:spcPct val="0"/>
              </a:spcBef>
              <a:buClrTx/>
              <a:buFontTx/>
              <a:buNone/>
            </a:pPr>
            <a:r>
              <a:rPr lang="en-US" altLang="nb-NO" sz="2400" b="1">
                <a:solidFill>
                  <a:srgbClr val="009682"/>
                </a:solidFill>
                <a:hlinkClick r:id="rId7">
                  <a:extLst>
                    <a:ext uri="{A12FA001-AC4F-418D-AE19-62706E023703}">
                      <ahyp:hlinkClr xmlns:ahyp="http://schemas.microsoft.com/office/drawing/2018/hyperlinkcolor" val="tx"/>
                    </a:ext>
                  </a:extLst>
                </a:hlinkClick>
              </a:rPr>
              <a:t>www.smartenergynetwork.org</a:t>
            </a:r>
            <a:endParaRPr lang="en-US" altLang="nb-NO" sz="2400" b="1">
              <a:solidFill>
                <a:srgbClr val="009682"/>
              </a:solidFill>
            </a:endParaRPr>
          </a:p>
          <a:p>
            <a:pPr eaLnBrk="1" hangingPunct="1">
              <a:lnSpc>
                <a:spcPct val="100000"/>
              </a:lnSpc>
              <a:spcBef>
                <a:spcPct val="0"/>
              </a:spcBef>
              <a:buClrTx/>
              <a:buFontTx/>
              <a:buNone/>
            </a:pPr>
            <a:r>
              <a:rPr lang="en-US" altLang="nb-NO" sz="2400" i="1">
                <a:solidFill>
                  <a:srgbClr val="009682"/>
                </a:solidFill>
              </a:rPr>
              <a:t>E-mail: </a:t>
            </a:r>
            <a:r>
              <a:rPr lang="en-US" altLang="nb-NO" sz="2400" i="1" err="1">
                <a:solidFill>
                  <a:srgbClr val="009682"/>
                </a:solidFill>
              </a:rPr>
              <a:t>ragnvald@naero.no</a:t>
            </a:r>
            <a:endParaRPr lang="en-US" altLang="nb-NO" sz="2400" i="1">
              <a:solidFill>
                <a:srgbClr val="009682"/>
              </a:solidFill>
            </a:endParaRPr>
          </a:p>
        </p:txBody>
      </p:sp>
    </p:spTree>
    <p:extLst>
      <p:ext uri="{BB962C8B-B14F-4D97-AF65-F5344CB8AC3E}">
        <p14:creationId xmlns:p14="http://schemas.microsoft.com/office/powerpoint/2010/main" val="2796592791"/>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tel 1"/>
          <p:cNvSpPr>
            <a:spLocks noGrp="1"/>
          </p:cNvSpPr>
          <p:nvPr>
            <p:ph type="title"/>
          </p:nvPr>
        </p:nvSpPr>
        <p:spPr bwMode="auto">
          <a:xfrm>
            <a:off x="4509055" y="401042"/>
            <a:ext cx="6317973" cy="906489"/>
          </a:xfrm>
        </p:spPr>
        <p:txBody>
          <a:bodyPr/>
          <a:lstStyle/>
          <a:p>
            <a:pPr eaLnBrk="1" hangingPunct="1"/>
            <a:r>
              <a:rPr lang="en-US" altLang="nb-NO" cap="none" dirty="0">
                <a:solidFill>
                  <a:schemeClr val="bg1"/>
                </a:solidFill>
                <a:latin typeface="Calibri" charset="0"/>
                <a:ea typeface="ＭＳ Ｐゴシック" charset="-128"/>
              </a:rPr>
              <a:t>THE </a:t>
            </a:r>
            <a:r>
              <a:rPr lang="en-US" altLang="en-US" cap="none" dirty="0">
                <a:solidFill>
                  <a:schemeClr val="bg1"/>
                </a:solidFill>
                <a:latin typeface="Calibri" charset="0"/>
                <a:ea typeface="ＭＳ Ｐゴシック" charset="-128"/>
              </a:rPr>
              <a:t>“</a:t>
            </a:r>
            <a:r>
              <a:rPr lang="en-US" altLang="nb-NO" cap="none" dirty="0">
                <a:solidFill>
                  <a:schemeClr val="bg1"/>
                </a:solidFill>
                <a:latin typeface="Calibri" charset="0"/>
                <a:ea typeface="ＭＳ Ｐゴシック" charset="-128"/>
              </a:rPr>
              <a:t>REVENGE</a:t>
            </a:r>
            <a:r>
              <a:rPr lang="en-US" altLang="en-US" cap="none" dirty="0">
                <a:solidFill>
                  <a:schemeClr val="bg1"/>
                </a:solidFill>
                <a:latin typeface="Calibri" charset="0"/>
                <a:ea typeface="ＭＳ Ｐゴシック" charset="-128"/>
              </a:rPr>
              <a:t>”</a:t>
            </a:r>
            <a:r>
              <a:rPr lang="en-US" altLang="nb-NO" cap="none" dirty="0">
                <a:solidFill>
                  <a:schemeClr val="bg1"/>
                </a:solidFill>
                <a:latin typeface="Calibri" charset="0"/>
                <a:ea typeface="ＭＳ Ｐゴシック" charset="-128"/>
              </a:rPr>
              <a:t> OF THE CONSUMER – NEW BUSINESS OPPORTUNITIES?</a:t>
            </a:r>
          </a:p>
        </p:txBody>
      </p:sp>
      <p:pic>
        <p:nvPicPr>
          <p:cNvPr id="21506" name="Plassholder for innhold 2" descr="Skjermbilde 2016-05-20 kl. 11.44.47.png"/>
          <p:cNvPicPr>
            <a:picLocks noGrp="1" noChangeAspect="1"/>
          </p:cNvPicPr>
          <p:nvPr>
            <p:ph idx="1"/>
          </p:nvPr>
        </p:nvPicPr>
        <p:blipFill>
          <a:blip r:embed="rId3">
            <a:extLst>
              <a:ext uri="{28A0092B-C50C-407E-A947-70E740481C1C}">
                <a14:useLocalDpi xmlns:a14="http://schemas.microsoft.com/office/drawing/2010/main" val="0"/>
              </a:ext>
            </a:extLst>
          </a:blip>
          <a:srcRect l="2" t="14441" r="-12746" b="3612"/>
          <a:stretch>
            <a:fillRect/>
          </a:stretch>
        </p:blipFill>
        <p:spPr>
          <a:xfrm>
            <a:off x="592831" y="2133603"/>
            <a:ext cx="12264014" cy="4181268"/>
          </a:xfrm>
        </p:spPr>
      </p:pic>
    </p:spTree>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3" name="Picture 4" descr="http://gigaom2.files.wordpress.com/2010/11/ge_netzeroenergyhom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551" y="-361948"/>
            <a:ext cx="10991850" cy="7219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5844" name="Rectangle 7"/>
          <p:cNvSpPr>
            <a:spLocks noChangeArrowheads="1"/>
          </p:cNvSpPr>
          <p:nvPr/>
        </p:nvSpPr>
        <p:spPr bwMode="auto">
          <a:xfrm>
            <a:off x="864870" y="2468563"/>
            <a:ext cx="952500" cy="884237"/>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en-US" altLang="en-US" sz="2880"/>
          </a:p>
        </p:txBody>
      </p:sp>
      <p:sp>
        <p:nvSpPr>
          <p:cNvPr id="35845" name="Rectangle 8"/>
          <p:cNvSpPr>
            <a:spLocks noChangeArrowheads="1"/>
          </p:cNvSpPr>
          <p:nvPr/>
        </p:nvSpPr>
        <p:spPr bwMode="auto">
          <a:xfrm>
            <a:off x="1413510" y="2301877"/>
            <a:ext cx="603886" cy="776288"/>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en-US" altLang="en-US" sz="2880"/>
          </a:p>
        </p:txBody>
      </p:sp>
      <p:sp>
        <p:nvSpPr>
          <p:cNvPr id="35846" name="TextBox 6"/>
          <p:cNvSpPr txBox="1">
            <a:spLocks noChangeArrowheads="1"/>
          </p:cNvSpPr>
          <p:nvPr/>
        </p:nvSpPr>
        <p:spPr bwMode="auto">
          <a:xfrm>
            <a:off x="828678" y="2468564"/>
            <a:ext cx="1609724" cy="10895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nb-NO" altLang="en-US" sz="1680" b="1">
                <a:solidFill>
                  <a:srgbClr val="009900"/>
                </a:solidFill>
              </a:rPr>
              <a:t>Smart Meter</a:t>
            </a:r>
          </a:p>
          <a:p>
            <a:r>
              <a:rPr lang="nb-NO" altLang="en-US" sz="1200" b="1"/>
              <a:t>A communication gateway between the Smart Grid and the home</a:t>
            </a:r>
            <a:endParaRPr lang="en-US" altLang="en-US" sz="1200" b="1"/>
          </a:p>
        </p:txBody>
      </p:sp>
      <p:sp>
        <p:nvSpPr>
          <p:cNvPr id="35847" name="Rectangle 10"/>
          <p:cNvSpPr>
            <a:spLocks noChangeArrowheads="1"/>
          </p:cNvSpPr>
          <p:nvPr/>
        </p:nvSpPr>
        <p:spPr bwMode="auto">
          <a:xfrm>
            <a:off x="864870" y="4754565"/>
            <a:ext cx="1426846" cy="854075"/>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en-US" altLang="en-US" sz="2880"/>
          </a:p>
        </p:txBody>
      </p:sp>
      <p:sp>
        <p:nvSpPr>
          <p:cNvPr id="35848" name="TextBox 9"/>
          <p:cNvSpPr txBox="1">
            <a:spLocks noChangeArrowheads="1"/>
          </p:cNvSpPr>
          <p:nvPr/>
        </p:nvSpPr>
        <p:spPr bwMode="auto">
          <a:xfrm>
            <a:off x="828676" y="4694240"/>
            <a:ext cx="1773554" cy="11633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nb-NO" altLang="en-US" sz="1680" b="1">
                <a:solidFill>
                  <a:srgbClr val="009900"/>
                </a:solidFill>
              </a:rPr>
              <a:t>Geothermal Heat Pumps</a:t>
            </a:r>
          </a:p>
          <a:p>
            <a:r>
              <a:rPr lang="en-US" altLang="en-US" sz="1200" b="1"/>
              <a:t>Reduces HVAC and water heating energy requirements by 30%</a:t>
            </a:r>
          </a:p>
        </p:txBody>
      </p:sp>
      <p:sp>
        <p:nvSpPr>
          <p:cNvPr id="35849" name="Rectangle 12"/>
          <p:cNvSpPr>
            <a:spLocks noChangeArrowheads="1"/>
          </p:cNvSpPr>
          <p:nvPr/>
        </p:nvSpPr>
        <p:spPr bwMode="auto">
          <a:xfrm>
            <a:off x="3206116" y="5578476"/>
            <a:ext cx="1554480" cy="868363"/>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en-US" altLang="en-US" sz="2880"/>
          </a:p>
        </p:txBody>
      </p:sp>
      <p:sp>
        <p:nvSpPr>
          <p:cNvPr id="35850" name="TextBox 11"/>
          <p:cNvSpPr txBox="1">
            <a:spLocks noChangeArrowheads="1"/>
          </p:cNvSpPr>
          <p:nvPr/>
        </p:nvSpPr>
        <p:spPr bwMode="auto">
          <a:xfrm>
            <a:off x="3169924" y="5456239"/>
            <a:ext cx="1809750" cy="13480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nb-NO" altLang="en-US" sz="1680" b="1">
                <a:solidFill>
                  <a:srgbClr val="009900"/>
                </a:solidFill>
              </a:rPr>
              <a:t>Heat Pump Water </a:t>
            </a:r>
            <a:r>
              <a:rPr lang="en-US" altLang="en-US" sz="1680" b="1">
                <a:solidFill>
                  <a:srgbClr val="009900"/>
                </a:solidFill>
              </a:rPr>
              <a:t>Heater</a:t>
            </a:r>
          </a:p>
          <a:p>
            <a:r>
              <a:rPr lang="en-US" altLang="en-US" sz="1200" b="1"/>
              <a:t>Uses less than half of the energy of a conventional electric water heater</a:t>
            </a:r>
          </a:p>
        </p:txBody>
      </p:sp>
      <p:sp>
        <p:nvSpPr>
          <p:cNvPr id="35851" name="Rectangle 14"/>
          <p:cNvSpPr>
            <a:spLocks noChangeArrowheads="1"/>
          </p:cNvSpPr>
          <p:nvPr/>
        </p:nvSpPr>
        <p:spPr bwMode="auto">
          <a:xfrm>
            <a:off x="9625966" y="4465640"/>
            <a:ext cx="1920240" cy="441325"/>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en-US" altLang="en-US" sz="2880"/>
          </a:p>
        </p:txBody>
      </p:sp>
      <p:sp>
        <p:nvSpPr>
          <p:cNvPr id="35852" name="Rectangle 15"/>
          <p:cNvSpPr>
            <a:spLocks noChangeArrowheads="1"/>
          </p:cNvSpPr>
          <p:nvPr/>
        </p:nvSpPr>
        <p:spPr bwMode="auto">
          <a:xfrm>
            <a:off x="5364480" y="6218240"/>
            <a:ext cx="2468880" cy="639762"/>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en-US" altLang="en-US" sz="2880"/>
          </a:p>
        </p:txBody>
      </p:sp>
      <p:sp>
        <p:nvSpPr>
          <p:cNvPr id="35853" name="TextBox 13"/>
          <p:cNvSpPr txBox="1">
            <a:spLocks noChangeArrowheads="1"/>
          </p:cNvSpPr>
          <p:nvPr/>
        </p:nvSpPr>
        <p:spPr bwMode="auto">
          <a:xfrm>
            <a:off x="5309236" y="6188076"/>
            <a:ext cx="2451734" cy="7201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en-US" altLang="en-US" sz="1680" b="1">
                <a:solidFill>
                  <a:srgbClr val="009900"/>
                </a:solidFill>
              </a:rPr>
              <a:t>Water Filtration</a:t>
            </a:r>
          </a:p>
          <a:p>
            <a:r>
              <a:rPr lang="en-US" altLang="en-US" sz="1200" b="1"/>
              <a:t>Filters, conditions and monitors home water usage</a:t>
            </a:r>
          </a:p>
        </p:txBody>
      </p:sp>
      <p:sp>
        <p:nvSpPr>
          <p:cNvPr id="35854" name="Rectangle 17"/>
          <p:cNvSpPr>
            <a:spLocks noChangeArrowheads="1"/>
          </p:cNvSpPr>
          <p:nvPr/>
        </p:nvSpPr>
        <p:spPr bwMode="auto">
          <a:xfrm>
            <a:off x="6663690" y="5638802"/>
            <a:ext cx="2468880" cy="579438"/>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en-US" altLang="en-US" sz="2880"/>
          </a:p>
        </p:txBody>
      </p:sp>
      <p:sp>
        <p:nvSpPr>
          <p:cNvPr id="35855" name="TextBox 16"/>
          <p:cNvSpPr txBox="1">
            <a:spLocks noChangeArrowheads="1"/>
          </p:cNvSpPr>
          <p:nvPr/>
        </p:nvSpPr>
        <p:spPr bwMode="auto">
          <a:xfrm>
            <a:off x="6608450" y="5592765"/>
            <a:ext cx="2449830" cy="7201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en-US" altLang="en-US" sz="1680" b="1">
                <a:solidFill>
                  <a:srgbClr val="009900"/>
                </a:solidFill>
              </a:rPr>
              <a:t>Energy Storage</a:t>
            </a:r>
          </a:p>
          <a:p>
            <a:r>
              <a:rPr lang="en-US" altLang="en-US" sz="1200" b="1"/>
              <a:t>Battery storage for backup power and peak loads</a:t>
            </a:r>
          </a:p>
        </p:txBody>
      </p:sp>
      <p:sp>
        <p:nvSpPr>
          <p:cNvPr id="35856" name="Rectangle 19"/>
          <p:cNvSpPr>
            <a:spLocks noChangeArrowheads="1"/>
          </p:cNvSpPr>
          <p:nvPr/>
        </p:nvSpPr>
        <p:spPr bwMode="auto">
          <a:xfrm>
            <a:off x="7778116" y="4999040"/>
            <a:ext cx="2687954" cy="593725"/>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en-US" altLang="en-US" sz="2880"/>
          </a:p>
        </p:txBody>
      </p:sp>
      <p:sp>
        <p:nvSpPr>
          <p:cNvPr id="35857" name="TextBox 18"/>
          <p:cNvSpPr txBox="1">
            <a:spLocks noChangeArrowheads="1"/>
          </p:cNvSpPr>
          <p:nvPr/>
        </p:nvSpPr>
        <p:spPr bwMode="auto">
          <a:xfrm>
            <a:off x="7760970" y="4892677"/>
            <a:ext cx="3491866" cy="904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en-US" altLang="en-US" sz="1680" b="1">
                <a:solidFill>
                  <a:srgbClr val="009900"/>
                </a:solidFill>
              </a:rPr>
              <a:t>Demand Response Appliances</a:t>
            </a:r>
          </a:p>
          <a:p>
            <a:r>
              <a:rPr lang="en-US" altLang="en-US" sz="1200" b="1"/>
              <a:t>High efficiency Energy Star Appliance shed load from the grid and help consumers save money during peak demand</a:t>
            </a:r>
          </a:p>
        </p:txBody>
      </p:sp>
      <p:sp>
        <p:nvSpPr>
          <p:cNvPr id="35858" name="TextBox 20"/>
          <p:cNvSpPr txBox="1">
            <a:spLocks noChangeArrowheads="1"/>
          </p:cNvSpPr>
          <p:nvPr/>
        </p:nvSpPr>
        <p:spPr bwMode="auto">
          <a:xfrm>
            <a:off x="9570720" y="4295268"/>
            <a:ext cx="2011680" cy="7201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en-US" altLang="en-US" sz="1680" b="1">
                <a:solidFill>
                  <a:srgbClr val="009900"/>
                </a:solidFill>
              </a:rPr>
              <a:t>EE Lighting </a:t>
            </a:r>
          </a:p>
          <a:p>
            <a:r>
              <a:rPr lang="en-US" altLang="en-US" sz="1200" b="1"/>
              <a:t>High efficiency CFL, LED and OLED lighting</a:t>
            </a:r>
          </a:p>
        </p:txBody>
      </p:sp>
      <p:sp>
        <p:nvSpPr>
          <p:cNvPr id="35859" name="Rectangle 22"/>
          <p:cNvSpPr>
            <a:spLocks noChangeArrowheads="1"/>
          </p:cNvSpPr>
          <p:nvPr/>
        </p:nvSpPr>
        <p:spPr bwMode="auto">
          <a:xfrm>
            <a:off x="9698356" y="1417638"/>
            <a:ext cx="1864994" cy="471487"/>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en-US" altLang="en-US" sz="2880"/>
          </a:p>
        </p:txBody>
      </p:sp>
      <p:sp>
        <p:nvSpPr>
          <p:cNvPr id="35860" name="TextBox 21"/>
          <p:cNvSpPr txBox="1">
            <a:spLocks noChangeArrowheads="1"/>
          </p:cNvSpPr>
          <p:nvPr/>
        </p:nvSpPr>
        <p:spPr bwMode="auto">
          <a:xfrm>
            <a:off x="9643110" y="1355727"/>
            <a:ext cx="2011680" cy="7201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en-US" altLang="en-US" sz="1680" b="1">
                <a:solidFill>
                  <a:srgbClr val="009900"/>
                </a:solidFill>
              </a:rPr>
              <a:t>Small Wind </a:t>
            </a:r>
          </a:p>
          <a:p>
            <a:r>
              <a:rPr lang="en-US" altLang="en-US" sz="1200" b="1"/>
              <a:t>Supplementary renewable generation</a:t>
            </a:r>
          </a:p>
        </p:txBody>
      </p:sp>
      <p:sp>
        <p:nvSpPr>
          <p:cNvPr id="35861" name="Rectangle 24"/>
          <p:cNvSpPr>
            <a:spLocks noChangeArrowheads="1"/>
          </p:cNvSpPr>
          <p:nvPr/>
        </p:nvSpPr>
        <p:spPr bwMode="auto">
          <a:xfrm>
            <a:off x="8126730" y="549275"/>
            <a:ext cx="1699260" cy="685800"/>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en-US" altLang="en-US" sz="2880"/>
          </a:p>
        </p:txBody>
      </p:sp>
      <p:sp>
        <p:nvSpPr>
          <p:cNvPr id="35862" name="TextBox 23"/>
          <p:cNvSpPr txBox="1">
            <a:spLocks noChangeArrowheads="1"/>
          </p:cNvSpPr>
          <p:nvPr/>
        </p:nvSpPr>
        <p:spPr bwMode="auto">
          <a:xfrm>
            <a:off x="8107684" y="609600"/>
            <a:ext cx="3145156" cy="7201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en-US" altLang="en-US" sz="1680" b="1">
                <a:solidFill>
                  <a:srgbClr val="009900"/>
                </a:solidFill>
              </a:rPr>
              <a:t>Solar Photovoltaic </a:t>
            </a:r>
          </a:p>
          <a:p>
            <a:r>
              <a:rPr lang="en-US" altLang="en-US" sz="1200" b="1"/>
              <a:t>3 kW to 4 kW solar array on the roof to meet energy requirements of the home</a:t>
            </a:r>
          </a:p>
        </p:txBody>
      </p:sp>
      <p:sp>
        <p:nvSpPr>
          <p:cNvPr id="35863" name="Rectangle 26"/>
          <p:cNvSpPr>
            <a:spLocks noChangeArrowheads="1"/>
          </p:cNvSpPr>
          <p:nvPr/>
        </p:nvSpPr>
        <p:spPr bwMode="auto">
          <a:xfrm>
            <a:off x="3444240" y="168275"/>
            <a:ext cx="1828800" cy="838200"/>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en-US" altLang="en-US" sz="2880"/>
          </a:p>
        </p:txBody>
      </p:sp>
      <p:sp>
        <p:nvSpPr>
          <p:cNvPr id="35864" name="TextBox 25"/>
          <p:cNvSpPr txBox="1">
            <a:spLocks noChangeArrowheads="1"/>
          </p:cNvSpPr>
          <p:nvPr/>
        </p:nvSpPr>
        <p:spPr bwMode="auto">
          <a:xfrm>
            <a:off x="2914651" y="396876"/>
            <a:ext cx="2724150" cy="10895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nb-NO" altLang="en-US" sz="1680" b="1">
                <a:solidFill>
                  <a:srgbClr val="009900"/>
                </a:solidFill>
              </a:rPr>
              <a:t>Home Energy Manager</a:t>
            </a:r>
          </a:p>
          <a:p>
            <a:r>
              <a:rPr lang="en-US" altLang="en-US" sz="1200" b="1"/>
              <a:t>The central nervous system for the net zero energy home helps homeowners optimize energy consumption</a:t>
            </a:r>
          </a:p>
        </p:txBody>
      </p:sp>
      <p:sp>
        <p:nvSpPr>
          <p:cNvPr id="35865" name="Rectangle 27"/>
          <p:cNvSpPr>
            <a:spLocks noChangeArrowheads="1"/>
          </p:cNvSpPr>
          <p:nvPr/>
        </p:nvSpPr>
        <p:spPr bwMode="auto">
          <a:xfrm>
            <a:off x="8985886" y="5927727"/>
            <a:ext cx="2596514" cy="930275"/>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en-US" altLang="en-US" sz="2880"/>
          </a:p>
        </p:txBody>
      </p:sp>
      <p:sp>
        <p:nvSpPr>
          <p:cNvPr id="35866" name="Rectangle 28"/>
          <p:cNvSpPr>
            <a:spLocks noChangeArrowheads="1"/>
          </p:cNvSpPr>
          <p:nvPr/>
        </p:nvSpPr>
        <p:spPr bwMode="auto">
          <a:xfrm>
            <a:off x="609602" y="-274636"/>
            <a:ext cx="7242810" cy="304801"/>
          </a:xfrm>
          <a:prstGeom prst="rect">
            <a:avLst/>
          </a:prstGeom>
          <a:solidFill>
            <a:schemeClr val="bg1"/>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400">
                <a:solidFill>
                  <a:schemeClr val="tx1"/>
                </a:solidFill>
                <a:latin typeface="Arial" pitchFamily="34" charset="0"/>
                <a:ea typeface="ヒラギノ角ゴ Pro W3"/>
                <a:cs typeface="ヒラギノ角ゴ Pro W3"/>
              </a:defRPr>
            </a:lvl1pPr>
            <a:lvl2pPr marL="742950" indent="-285750" eaLnBrk="0" hangingPunct="0">
              <a:defRPr sz="2400">
                <a:solidFill>
                  <a:schemeClr val="tx1"/>
                </a:solidFill>
                <a:latin typeface="Arial" pitchFamily="34" charset="0"/>
                <a:ea typeface="ヒラギノ角ゴ Pro W3"/>
                <a:cs typeface="ヒラギノ角ゴ Pro W3"/>
              </a:defRPr>
            </a:lvl2pPr>
            <a:lvl3pPr marL="1143000" indent="-228600" eaLnBrk="0" hangingPunct="0">
              <a:defRPr sz="2400">
                <a:solidFill>
                  <a:schemeClr val="tx1"/>
                </a:solidFill>
                <a:latin typeface="Arial" pitchFamily="34" charset="0"/>
                <a:ea typeface="ヒラギノ角ゴ Pro W3"/>
                <a:cs typeface="ヒラギノ角ゴ Pro W3"/>
              </a:defRPr>
            </a:lvl3pPr>
            <a:lvl4pPr marL="1600200" indent="-228600" eaLnBrk="0" hangingPunct="0">
              <a:defRPr sz="2400">
                <a:solidFill>
                  <a:schemeClr val="tx1"/>
                </a:solidFill>
                <a:latin typeface="Arial" pitchFamily="34" charset="0"/>
                <a:ea typeface="ヒラギノ角ゴ Pro W3"/>
                <a:cs typeface="ヒラギノ角ゴ Pro W3"/>
              </a:defRPr>
            </a:lvl4pPr>
            <a:lvl5pPr marL="2057400" indent="-228600" eaLnBrk="0" hangingPunct="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endParaRPr lang="en-US" altLang="en-US" sz="2880"/>
          </a:p>
        </p:txBody>
      </p:sp>
      <p:sp>
        <p:nvSpPr>
          <p:cNvPr id="35867" name="Rectangle 34"/>
          <p:cNvSpPr>
            <a:spLocks noChangeArrowheads="1"/>
          </p:cNvSpPr>
          <p:nvPr/>
        </p:nvSpPr>
        <p:spPr bwMode="auto">
          <a:xfrm>
            <a:off x="9382126" y="6565904"/>
            <a:ext cx="184858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marL="106363" indent="-106363" defTabSz="912813" eaLnBrk="0" hangingPunct="0">
              <a:defRPr sz="2400">
                <a:solidFill>
                  <a:schemeClr val="tx1"/>
                </a:solidFill>
                <a:latin typeface="Arial" pitchFamily="34" charset="0"/>
                <a:ea typeface="ヒラギノ角ゴ Pro W3"/>
                <a:cs typeface="ヒラギノ角ゴ Pro W3"/>
              </a:defRPr>
            </a:lvl1pPr>
            <a:lvl2pPr marL="742950" indent="-285750" defTabSz="912813" eaLnBrk="0" hangingPunct="0">
              <a:defRPr sz="2400">
                <a:solidFill>
                  <a:schemeClr val="tx1"/>
                </a:solidFill>
                <a:latin typeface="Arial" pitchFamily="34" charset="0"/>
                <a:ea typeface="ヒラギノ角ゴ Pro W3"/>
                <a:cs typeface="ヒラギノ角ゴ Pro W3"/>
              </a:defRPr>
            </a:lvl2pPr>
            <a:lvl3pPr marL="1143000" indent="-228600" defTabSz="912813" eaLnBrk="0" hangingPunct="0">
              <a:defRPr sz="2400">
                <a:solidFill>
                  <a:schemeClr val="tx1"/>
                </a:solidFill>
                <a:latin typeface="Arial" pitchFamily="34" charset="0"/>
                <a:ea typeface="ヒラギノ角ゴ Pro W3"/>
                <a:cs typeface="ヒラギノ角ゴ Pro W3"/>
              </a:defRPr>
            </a:lvl3pPr>
            <a:lvl4pPr marL="1600200" indent="-228600" defTabSz="912813" eaLnBrk="0" hangingPunct="0">
              <a:defRPr sz="2400">
                <a:solidFill>
                  <a:schemeClr val="tx1"/>
                </a:solidFill>
                <a:latin typeface="Arial" pitchFamily="34" charset="0"/>
                <a:ea typeface="ヒラギノ角ゴ Pro W3"/>
                <a:cs typeface="ヒラギノ角ゴ Pro W3"/>
              </a:defRPr>
            </a:lvl4pPr>
            <a:lvl5pPr marL="2057400" indent="-228600" defTabSz="912813" eaLnBrk="0" hangingPunct="0">
              <a:defRPr sz="2400">
                <a:solidFill>
                  <a:schemeClr val="tx1"/>
                </a:solidFill>
                <a:latin typeface="Arial" pitchFamily="34" charset="0"/>
                <a:ea typeface="ヒラギノ角ゴ Pro W3"/>
                <a:cs typeface="ヒラギノ角ゴ Pro W3"/>
              </a:defRPr>
            </a:lvl5pPr>
            <a:lvl6pPr marL="2514600" indent="-228600" defTabSz="91281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1281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1281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1281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r>
              <a:rPr lang="en-GB" altLang="en-US" sz="1200" i="1"/>
              <a:t>Source: General Electric</a:t>
            </a:r>
          </a:p>
        </p:txBody>
      </p:sp>
      <p:sp>
        <p:nvSpPr>
          <p:cNvPr id="2" name="Avrundet rektangel 1">
            <a:extLst>
              <a:ext uri="{FF2B5EF4-FFF2-40B4-BE49-F238E27FC236}">
                <a16:creationId xmlns:a16="http://schemas.microsoft.com/office/drawing/2014/main" id="{47F4607D-6C9B-5242-BF34-D0F105F9C8D9}"/>
              </a:ext>
            </a:extLst>
          </p:cNvPr>
          <p:cNvSpPr/>
          <p:nvPr/>
        </p:nvSpPr>
        <p:spPr>
          <a:xfrm>
            <a:off x="9116528" y="2206111"/>
            <a:ext cx="2724150" cy="440843"/>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471B42F-EC8C-4740-99A0-9D5152F6377C}"/>
              </a:ext>
            </a:extLst>
          </p:cNvPr>
          <p:cNvSpPr txBox="1"/>
          <p:nvPr/>
        </p:nvSpPr>
        <p:spPr>
          <a:xfrm>
            <a:off x="9452898" y="2139371"/>
            <a:ext cx="2006676" cy="553998"/>
          </a:xfrm>
          <a:prstGeom prst="rect">
            <a:avLst/>
          </a:prstGeom>
          <a:noFill/>
        </p:spPr>
        <p:txBody>
          <a:bodyPr wrap="square" rtlCol="0">
            <a:spAutoFit/>
          </a:bodyPr>
          <a:lstStyle/>
          <a:p>
            <a:r>
              <a:rPr lang="nb-NO" sz="3000" dirty="0" err="1"/>
              <a:t>Residencial</a:t>
            </a:r>
            <a:r>
              <a:rPr lang="nb-NO" sz="3000" dirty="0"/>
              <a:t> </a:t>
            </a:r>
          </a:p>
        </p:txBody>
      </p:sp>
      <p:sp>
        <p:nvSpPr>
          <p:cNvPr id="30" name="Avrundet rektangel 29">
            <a:extLst>
              <a:ext uri="{FF2B5EF4-FFF2-40B4-BE49-F238E27FC236}">
                <a16:creationId xmlns:a16="http://schemas.microsoft.com/office/drawing/2014/main" id="{A171E73F-80DE-BA41-B662-75A43397ECD4}"/>
              </a:ext>
            </a:extLst>
          </p:cNvPr>
          <p:cNvSpPr/>
          <p:nvPr/>
        </p:nvSpPr>
        <p:spPr>
          <a:xfrm>
            <a:off x="9124550" y="2727477"/>
            <a:ext cx="2724150" cy="440843"/>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TekstSylinder 30">
            <a:extLst>
              <a:ext uri="{FF2B5EF4-FFF2-40B4-BE49-F238E27FC236}">
                <a16:creationId xmlns:a16="http://schemas.microsoft.com/office/drawing/2014/main" id="{FC10640B-F169-D24E-A88B-9EBF0E34E68E}"/>
              </a:ext>
            </a:extLst>
          </p:cNvPr>
          <p:cNvSpPr txBox="1"/>
          <p:nvPr/>
        </p:nvSpPr>
        <p:spPr>
          <a:xfrm>
            <a:off x="9460920" y="2660737"/>
            <a:ext cx="2155358" cy="553998"/>
          </a:xfrm>
          <a:prstGeom prst="rect">
            <a:avLst/>
          </a:prstGeom>
          <a:noFill/>
        </p:spPr>
        <p:txBody>
          <a:bodyPr wrap="square" rtlCol="0">
            <a:spAutoFit/>
          </a:bodyPr>
          <a:lstStyle/>
          <a:p>
            <a:r>
              <a:rPr lang="nb-NO" sz="3000" dirty="0"/>
              <a:t>Commercial </a:t>
            </a:r>
          </a:p>
        </p:txBody>
      </p:sp>
      <p:sp>
        <p:nvSpPr>
          <p:cNvPr id="32" name="Avrundet rektangel 31">
            <a:extLst>
              <a:ext uri="{FF2B5EF4-FFF2-40B4-BE49-F238E27FC236}">
                <a16:creationId xmlns:a16="http://schemas.microsoft.com/office/drawing/2014/main" id="{D1604FDD-B911-194E-A108-EA2E6972E97D}"/>
              </a:ext>
            </a:extLst>
          </p:cNvPr>
          <p:cNvSpPr/>
          <p:nvPr/>
        </p:nvSpPr>
        <p:spPr>
          <a:xfrm>
            <a:off x="9108508" y="3256863"/>
            <a:ext cx="2724150" cy="440843"/>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TekstSylinder 32">
            <a:extLst>
              <a:ext uri="{FF2B5EF4-FFF2-40B4-BE49-F238E27FC236}">
                <a16:creationId xmlns:a16="http://schemas.microsoft.com/office/drawing/2014/main" id="{19BA1485-2C6F-634D-9157-C12EB4B1834B}"/>
              </a:ext>
            </a:extLst>
          </p:cNvPr>
          <p:cNvSpPr txBox="1"/>
          <p:nvPr/>
        </p:nvSpPr>
        <p:spPr>
          <a:xfrm>
            <a:off x="9444878" y="3190123"/>
            <a:ext cx="2006676" cy="553998"/>
          </a:xfrm>
          <a:prstGeom prst="rect">
            <a:avLst/>
          </a:prstGeom>
          <a:noFill/>
        </p:spPr>
        <p:txBody>
          <a:bodyPr wrap="square" rtlCol="0">
            <a:spAutoFit/>
          </a:bodyPr>
          <a:lstStyle/>
          <a:p>
            <a:r>
              <a:rPr lang="nb-NO" sz="3000" dirty="0"/>
              <a:t>Industry </a:t>
            </a:r>
          </a:p>
        </p:txBody>
      </p:sp>
      <p:sp>
        <p:nvSpPr>
          <p:cNvPr id="34" name="Avrundet rektangel 33">
            <a:extLst>
              <a:ext uri="{FF2B5EF4-FFF2-40B4-BE49-F238E27FC236}">
                <a16:creationId xmlns:a16="http://schemas.microsoft.com/office/drawing/2014/main" id="{710D83C9-D5B1-6E48-9F10-51F45722E1DB}"/>
              </a:ext>
            </a:extLst>
          </p:cNvPr>
          <p:cNvSpPr/>
          <p:nvPr/>
        </p:nvSpPr>
        <p:spPr>
          <a:xfrm>
            <a:off x="9116530" y="3778229"/>
            <a:ext cx="2724150" cy="440843"/>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 name="TekstSylinder 34">
            <a:extLst>
              <a:ext uri="{FF2B5EF4-FFF2-40B4-BE49-F238E27FC236}">
                <a16:creationId xmlns:a16="http://schemas.microsoft.com/office/drawing/2014/main" id="{79652619-E511-4147-BDA2-75AA11B64F5C}"/>
              </a:ext>
            </a:extLst>
          </p:cNvPr>
          <p:cNvSpPr txBox="1"/>
          <p:nvPr/>
        </p:nvSpPr>
        <p:spPr>
          <a:xfrm>
            <a:off x="9452900" y="3711489"/>
            <a:ext cx="2006676" cy="553998"/>
          </a:xfrm>
          <a:prstGeom prst="rect">
            <a:avLst/>
          </a:prstGeom>
          <a:noFill/>
        </p:spPr>
        <p:txBody>
          <a:bodyPr wrap="square" rtlCol="0">
            <a:spAutoFit/>
          </a:bodyPr>
          <a:lstStyle/>
          <a:p>
            <a:r>
              <a:rPr lang="nb-NO" sz="3000" dirty="0"/>
              <a:t>Smart city </a:t>
            </a:r>
          </a:p>
        </p:txBody>
      </p:sp>
    </p:spTree>
    <p:extLst>
      <p:ext uri="{BB962C8B-B14F-4D97-AF65-F5344CB8AC3E}">
        <p14:creationId xmlns:p14="http://schemas.microsoft.com/office/powerpoint/2010/main" val="3852992476"/>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dissolve">
                                      <p:cBhvr>
                                        <p:cTn id="15" dur="500"/>
                                        <p:tgtEl>
                                          <p:spTgt spid="30"/>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dissolve">
                                      <p:cBhvr>
                                        <p:cTn id="18" dur="500"/>
                                        <p:tgtEl>
                                          <p:spTgt spid="31"/>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dissolve">
                                      <p:cBhvr>
                                        <p:cTn id="23" dur="500"/>
                                        <p:tgtEl>
                                          <p:spTgt spid="32"/>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dissolve">
                                      <p:cBhvr>
                                        <p:cTn id="26" dur="500"/>
                                        <p:tgtEl>
                                          <p:spTgt spid="33"/>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dissolve">
                                      <p:cBhvr>
                                        <p:cTn id="31" dur="500"/>
                                        <p:tgtEl>
                                          <p:spTgt spid="34"/>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35"/>
                                        </p:tgtEl>
                                        <p:attrNameLst>
                                          <p:attrName>style.visibility</p:attrName>
                                        </p:attrNameLst>
                                      </p:cBhvr>
                                      <p:to>
                                        <p:strVal val="visible"/>
                                      </p:to>
                                    </p:set>
                                    <p:animEffect transition="in" filter="dissolve">
                                      <p:cBhvr>
                                        <p:cTn id="34"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30" grpId="0" animBg="1"/>
      <p:bldP spid="31" grpId="0"/>
      <p:bldP spid="32" grpId="0" animBg="1"/>
      <p:bldP spid="33" grpId="0"/>
      <p:bldP spid="34" grpId="0" animBg="1"/>
      <p:bldP spid="3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lassholder for innhold 24" descr="Et bilde som inneholder leke, kjører, gate&#10;&#10;Automatisk generert beskrivelse">
            <a:extLst>
              <a:ext uri="{FF2B5EF4-FFF2-40B4-BE49-F238E27FC236}">
                <a16:creationId xmlns:a16="http://schemas.microsoft.com/office/drawing/2014/main" id="{FE563DC2-BBAD-BA4D-BE44-A984C578B02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873858" y="3938158"/>
            <a:ext cx="2270959" cy="1471739"/>
          </a:xfrm>
          <a:ln>
            <a:solidFill>
              <a:schemeClr val="tx1"/>
            </a:solidFill>
          </a:ln>
        </p:spPr>
      </p:pic>
      <p:sp>
        <p:nvSpPr>
          <p:cNvPr id="4" name="Tittel 1">
            <a:extLst>
              <a:ext uri="{FF2B5EF4-FFF2-40B4-BE49-F238E27FC236}">
                <a16:creationId xmlns:a16="http://schemas.microsoft.com/office/drawing/2014/main" id="{3AE70507-DA34-FC44-B8AE-057F9E72679C}"/>
              </a:ext>
            </a:extLst>
          </p:cNvPr>
          <p:cNvSpPr>
            <a:spLocks noGrp="1"/>
          </p:cNvSpPr>
          <p:nvPr>
            <p:ph type="title"/>
          </p:nvPr>
        </p:nvSpPr>
        <p:spPr>
          <a:xfrm>
            <a:off x="3859696" y="410817"/>
            <a:ext cx="7523922" cy="895629"/>
          </a:xfrm>
        </p:spPr>
        <p:txBody>
          <a:bodyPr rtlCol="0"/>
          <a:lstStyle/>
          <a:p>
            <a:pPr eaLnBrk="1" fontAlgn="auto" hangingPunct="1">
              <a:spcAft>
                <a:spcPts val="0"/>
              </a:spcAft>
              <a:defRPr/>
            </a:pPr>
            <a:r>
              <a:rPr lang="nb-NO" dirty="0">
                <a:solidFill>
                  <a:schemeClr val="bg1"/>
                </a:solidFill>
                <a:ea typeface="+mj-ea"/>
                <a:cs typeface="+mj-cs"/>
              </a:rPr>
              <a:t>How to speed up </a:t>
            </a:r>
            <a:r>
              <a:rPr lang="nb-NO" dirty="0" err="1">
                <a:solidFill>
                  <a:schemeClr val="bg1"/>
                </a:solidFill>
                <a:ea typeface="+mj-ea"/>
                <a:cs typeface="+mj-cs"/>
              </a:rPr>
              <a:t>the</a:t>
            </a:r>
            <a:r>
              <a:rPr lang="nb-NO" dirty="0">
                <a:solidFill>
                  <a:schemeClr val="bg1"/>
                </a:solidFill>
                <a:ea typeface="+mj-ea"/>
                <a:cs typeface="+mj-cs"/>
              </a:rPr>
              <a:t> </a:t>
            </a:r>
            <a:r>
              <a:rPr lang="nb-NO" dirty="0" err="1">
                <a:solidFill>
                  <a:schemeClr val="bg1"/>
                </a:solidFill>
                <a:ea typeface="+mj-ea"/>
                <a:cs typeface="+mj-cs"/>
              </a:rPr>
              <a:t>electrification</a:t>
            </a:r>
            <a:r>
              <a:rPr lang="nb-NO" dirty="0">
                <a:solidFill>
                  <a:schemeClr val="bg1"/>
                </a:solidFill>
                <a:ea typeface="+mj-ea"/>
                <a:cs typeface="+mj-cs"/>
              </a:rPr>
              <a:t>?</a:t>
            </a:r>
            <a:endParaRPr lang="en-US" dirty="0">
              <a:solidFill>
                <a:schemeClr val="bg1"/>
              </a:solidFill>
              <a:ea typeface="+mj-ea"/>
              <a:cs typeface="+mj-cs"/>
            </a:endParaRPr>
          </a:p>
        </p:txBody>
      </p:sp>
      <p:pic>
        <p:nvPicPr>
          <p:cNvPr id="18" name="Picture 3">
            <a:extLst>
              <a:ext uri="{FF2B5EF4-FFF2-40B4-BE49-F238E27FC236}">
                <a16:creationId xmlns:a16="http://schemas.microsoft.com/office/drawing/2014/main" id="{5F30F7CE-F15E-B44B-8435-2C1556D8B9C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6429" r="-941" b="7073"/>
          <a:stretch/>
        </p:blipFill>
        <p:spPr>
          <a:xfrm>
            <a:off x="1675398" y="2389580"/>
            <a:ext cx="2293519" cy="1480845"/>
          </a:xfrm>
          <a:prstGeom prst="rect">
            <a:avLst/>
          </a:prstGeom>
          <a:ln>
            <a:solidFill>
              <a:schemeClr val="tx1"/>
            </a:solidFill>
          </a:ln>
        </p:spPr>
      </p:pic>
      <p:pic>
        <p:nvPicPr>
          <p:cNvPr id="19" name="Picture 4">
            <a:extLst>
              <a:ext uri="{FF2B5EF4-FFF2-40B4-BE49-F238E27FC236}">
                <a16:creationId xmlns:a16="http://schemas.microsoft.com/office/drawing/2014/main" id="{4224F3BF-22EC-F042-BAD1-20E493696EE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017"/>
          <a:stretch/>
        </p:blipFill>
        <p:spPr>
          <a:xfrm>
            <a:off x="6438397" y="3938159"/>
            <a:ext cx="2331125" cy="1471738"/>
          </a:xfrm>
          <a:prstGeom prst="rect">
            <a:avLst/>
          </a:prstGeom>
          <a:ln>
            <a:solidFill>
              <a:schemeClr val="tx1"/>
            </a:solidFill>
          </a:ln>
          <a:effectLst>
            <a:outerShdw blurRad="50800" dist="38100" dir="2700000" algn="tl" rotWithShape="0">
              <a:prstClr val="black">
                <a:alpha val="40000"/>
              </a:prstClr>
            </a:outerShdw>
          </a:effectLst>
        </p:spPr>
      </p:pic>
      <p:pic>
        <p:nvPicPr>
          <p:cNvPr id="20" name="Picture 5">
            <a:extLst>
              <a:ext uri="{FF2B5EF4-FFF2-40B4-BE49-F238E27FC236}">
                <a16:creationId xmlns:a16="http://schemas.microsoft.com/office/drawing/2014/main" id="{B7F94C8D-6B0F-864C-9F2D-E932DADBC7D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7732"/>
          <a:stretch/>
        </p:blipFill>
        <p:spPr>
          <a:xfrm>
            <a:off x="6492924" y="2394433"/>
            <a:ext cx="2270959" cy="1433503"/>
          </a:xfrm>
          <a:prstGeom prst="rect">
            <a:avLst/>
          </a:prstGeom>
          <a:ln>
            <a:solidFill>
              <a:schemeClr val="tx1"/>
            </a:solidFill>
          </a:ln>
        </p:spPr>
      </p:pic>
      <p:pic>
        <p:nvPicPr>
          <p:cNvPr id="21" name="Picture 6">
            <a:extLst>
              <a:ext uri="{FF2B5EF4-FFF2-40B4-BE49-F238E27FC236}">
                <a16:creationId xmlns:a16="http://schemas.microsoft.com/office/drawing/2014/main" id="{F830B808-1F2F-F345-93A8-BD2FB1991BE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84161" y="3938159"/>
            <a:ext cx="2282239" cy="1471739"/>
          </a:xfrm>
          <a:prstGeom prst="rect">
            <a:avLst/>
          </a:prstGeom>
          <a:ln>
            <a:solidFill>
              <a:schemeClr val="tx1"/>
            </a:solidFill>
          </a:ln>
        </p:spPr>
      </p:pic>
      <p:pic>
        <p:nvPicPr>
          <p:cNvPr id="22" name="Picture 10">
            <a:extLst>
              <a:ext uri="{FF2B5EF4-FFF2-40B4-BE49-F238E27FC236}">
                <a16:creationId xmlns:a16="http://schemas.microsoft.com/office/drawing/2014/main" id="{838CB492-2D54-2542-894C-120021725D6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81039" y="3938159"/>
            <a:ext cx="2282239" cy="1521492"/>
          </a:xfrm>
          <a:prstGeom prst="rect">
            <a:avLst/>
          </a:prstGeom>
          <a:ln>
            <a:solidFill>
              <a:schemeClr val="tx1"/>
            </a:solidFill>
          </a:ln>
        </p:spPr>
      </p:pic>
      <p:pic>
        <p:nvPicPr>
          <p:cNvPr id="17" name="Content Placeholder 15">
            <a:extLst>
              <a:ext uri="{FF2B5EF4-FFF2-40B4-BE49-F238E27FC236}">
                <a16:creationId xmlns:a16="http://schemas.microsoft.com/office/drawing/2014/main" id="{091A150A-801A-7B40-9AE2-AA3BDFF28A5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95441" y="2383980"/>
            <a:ext cx="2270959" cy="1480844"/>
          </a:xfrm>
          <a:prstGeom prst="rect">
            <a:avLst/>
          </a:prstGeom>
          <a:ln>
            <a:solidFill>
              <a:schemeClr val="tx1"/>
            </a:solidFill>
          </a:ln>
          <a:effectLst>
            <a:outerShdw blurRad="50800" dist="38100" dir="2700000" algn="tl" rotWithShape="0">
              <a:prstClr val="black">
                <a:alpha val="40000"/>
              </a:prstClr>
            </a:outerShdw>
          </a:effectLst>
        </p:spPr>
      </p:pic>
      <p:pic>
        <p:nvPicPr>
          <p:cNvPr id="27" name="Bilde 26" descr="Et bilde som inneholder grønn, klokke, datamaskin&#10;&#10;Automatisk generert beskrivelse">
            <a:extLst>
              <a:ext uri="{FF2B5EF4-FFF2-40B4-BE49-F238E27FC236}">
                <a16:creationId xmlns:a16="http://schemas.microsoft.com/office/drawing/2014/main" id="{334CC6FC-154D-A447-AE4B-CDC7F527829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873858" y="2383980"/>
            <a:ext cx="2270959" cy="1443956"/>
          </a:xfrm>
          <a:prstGeom prst="rect">
            <a:avLst/>
          </a:prstGeom>
          <a:ln>
            <a:solidFill>
              <a:schemeClr val="tx1"/>
            </a:solidFill>
          </a:ln>
        </p:spPr>
      </p:pic>
    </p:spTree>
    <p:extLst>
      <p:ext uri="{BB962C8B-B14F-4D97-AF65-F5344CB8AC3E}">
        <p14:creationId xmlns:p14="http://schemas.microsoft.com/office/powerpoint/2010/main" val="2413795302"/>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813856" y="371064"/>
            <a:ext cx="10515600" cy="935383"/>
          </a:xfrm>
        </p:spPr>
        <p:txBody>
          <a:bodyPr rtlCol="0"/>
          <a:lstStyle/>
          <a:p>
            <a:pPr eaLnBrk="1" fontAlgn="auto" hangingPunct="1">
              <a:spcAft>
                <a:spcPts val="0"/>
              </a:spcAft>
              <a:defRPr/>
            </a:pPr>
            <a:r>
              <a:rPr lang="nb-NO" dirty="0">
                <a:solidFill>
                  <a:schemeClr val="bg1"/>
                </a:solidFill>
                <a:ea typeface="+mj-ea"/>
                <a:cs typeface="+mj-cs"/>
              </a:rPr>
              <a:t>Foundation for The Network</a:t>
            </a:r>
            <a:endParaRPr lang="en-US" dirty="0">
              <a:solidFill>
                <a:schemeClr val="bg1"/>
              </a:solidFill>
              <a:ea typeface="+mj-ea"/>
              <a:cs typeface="+mj-cs"/>
            </a:endParaRPr>
          </a:p>
        </p:txBody>
      </p:sp>
      <p:sp>
        <p:nvSpPr>
          <p:cNvPr id="22530" name="Plassholder for innhold 2"/>
          <p:cNvSpPr>
            <a:spLocks noGrp="1"/>
          </p:cNvSpPr>
          <p:nvPr>
            <p:ph idx="1"/>
          </p:nvPr>
        </p:nvSpPr>
        <p:spPr>
          <a:xfrm>
            <a:off x="1646587" y="2064234"/>
            <a:ext cx="10515600" cy="3171825"/>
          </a:xfrm>
        </p:spPr>
        <p:txBody>
          <a:bodyPr/>
          <a:lstStyle/>
          <a:p>
            <a:pPr eaLnBrk="1" hangingPunct="1">
              <a:lnSpc>
                <a:spcPct val="120000"/>
              </a:lnSpc>
            </a:pPr>
            <a:r>
              <a:rPr lang="en-GB" altLang="nb-NO" sz="2400" b="1" dirty="0">
                <a:ea typeface="ＭＳ Ｐゴシック" charset="-128"/>
              </a:rPr>
              <a:t>Our Vision: </a:t>
            </a:r>
            <a:br>
              <a:rPr lang="en-GB" altLang="nb-NO" sz="2400" dirty="0">
                <a:ea typeface="ＭＳ Ｐゴシック" charset="-128"/>
              </a:rPr>
            </a:br>
            <a:r>
              <a:rPr lang="en-GB" altLang="nb-NO" sz="2400" u="sng" dirty="0">
                <a:ea typeface="ＭＳ Ｐゴシック" charset="-128"/>
              </a:rPr>
              <a:t>Change – get smarte</a:t>
            </a:r>
            <a:r>
              <a:rPr lang="en-GB" altLang="nb-NO" sz="2400" dirty="0">
                <a:ea typeface="ＭＳ Ｐゴシック" charset="-128"/>
              </a:rPr>
              <a:t>r and improve your business</a:t>
            </a:r>
          </a:p>
          <a:p>
            <a:pPr eaLnBrk="1" hangingPunct="1">
              <a:lnSpc>
                <a:spcPct val="120000"/>
              </a:lnSpc>
            </a:pPr>
            <a:r>
              <a:rPr lang="en-GB" altLang="nb-NO" sz="2400" b="1" dirty="0">
                <a:ea typeface="ＭＳ Ｐゴシック" charset="-128"/>
              </a:rPr>
              <a:t>Our Mission: </a:t>
            </a:r>
            <a:br>
              <a:rPr lang="en-GB" altLang="nb-NO" sz="2400" dirty="0">
                <a:ea typeface="ＭＳ Ｐゴシック" charset="-128"/>
              </a:rPr>
            </a:br>
            <a:r>
              <a:rPr lang="en-GB" altLang="nb-NO" sz="2400" dirty="0">
                <a:ea typeface="ＭＳ Ｐゴシック" charset="-128"/>
              </a:rPr>
              <a:t>Take us into the future of smart energy and </a:t>
            </a:r>
            <a:r>
              <a:rPr lang="en-GB" altLang="nb-NO" sz="2400" u="sng" dirty="0">
                <a:ea typeface="ＭＳ Ｐゴシック" charset="-128"/>
              </a:rPr>
              <a:t>build a platform for new business</a:t>
            </a:r>
          </a:p>
          <a:p>
            <a:pPr eaLnBrk="1" hangingPunct="1">
              <a:lnSpc>
                <a:spcPct val="120000"/>
              </a:lnSpc>
            </a:pPr>
            <a:r>
              <a:rPr lang="en-GB" altLang="nb-NO" sz="2400" b="1" dirty="0">
                <a:ea typeface="ＭＳ Ｐゴシック" charset="-128"/>
              </a:rPr>
              <a:t>Our Ambition: </a:t>
            </a:r>
            <a:br>
              <a:rPr lang="en-GB" altLang="nb-NO" sz="2400" dirty="0">
                <a:ea typeface="ＭＳ Ｐゴシック" charset="-128"/>
              </a:rPr>
            </a:br>
            <a:r>
              <a:rPr lang="en-GB" altLang="nb-NO" sz="2400" dirty="0">
                <a:ea typeface="ＭＳ Ｐゴシック" charset="-128"/>
              </a:rPr>
              <a:t>Create a </a:t>
            </a:r>
            <a:r>
              <a:rPr lang="en-GB" altLang="nb-NO" sz="2400" u="sng" dirty="0">
                <a:ea typeface="ＭＳ Ｐゴシック" charset="-128"/>
              </a:rPr>
              <a:t>Nordic</a:t>
            </a:r>
            <a:r>
              <a:rPr lang="en-GB" altLang="nb-NO" sz="2400" dirty="0">
                <a:ea typeface="ＭＳ Ｐゴシック" charset="-128"/>
              </a:rPr>
              <a:t> high level competence network for inspiration, innovation and business creativity</a:t>
            </a:r>
            <a:endParaRPr lang="en-US" altLang="nb-NO" sz="2400" dirty="0">
              <a:ea typeface="ＭＳ Ｐゴシック" charset="-128"/>
            </a:endParaRPr>
          </a:p>
        </p:txBody>
      </p:sp>
    </p:spTree>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28DA75E-7642-BA48-9DB2-A8CAE0386F17}"/>
              </a:ext>
            </a:extLst>
          </p:cNvPr>
          <p:cNvSpPr>
            <a:spLocks noGrp="1"/>
          </p:cNvSpPr>
          <p:nvPr>
            <p:ph type="title"/>
          </p:nvPr>
        </p:nvSpPr>
        <p:spPr>
          <a:xfrm>
            <a:off x="5092152" y="437322"/>
            <a:ext cx="10515600" cy="855870"/>
          </a:xfrm>
        </p:spPr>
        <p:txBody>
          <a:bodyPr/>
          <a:lstStyle/>
          <a:p>
            <a:r>
              <a:rPr lang="nb-NO" dirty="0">
                <a:solidFill>
                  <a:schemeClr val="bg1"/>
                </a:solidFill>
              </a:rPr>
              <a:t>Our </a:t>
            </a:r>
            <a:r>
              <a:rPr lang="en-GB" dirty="0">
                <a:solidFill>
                  <a:schemeClr val="bg1"/>
                </a:solidFill>
              </a:rPr>
              <a:t>business model</a:t>
            </a:r>
            <a:endParaRPr lang="nb-NO" dirty="0">
              <a:solidFill>
                <a:schemeClr val="bg1"/>
              </a:solidFill>
            </a:endParaRPr>
          </a:p>
        </p:txBody>
      </p:sp>
      <p:sp>
        <p:nvSpPr>
          <p:cNvPr id="4" name="Plassholder for innhold 2">
            <a:extLst>
              <a:ext uri="{FF2B5EF4-FFF2-40B4-BE49-F238E27FC236}">
                <a16:creationId xmlns:a16="http://schemas.microsoft.com/office/drawing/2014/main" id="{2645135F-E036-CB49-A5F9-24A566F44E14}"/>
              </a:ext>
            </a:extLst>
          </p:cNvPr>
          <p:cNvSpPr>
            <a:spLocks noGrp="1"/>
          </p:cNvSpPr>
          <p:nvPr>
            <p:ph idx="1"/>
          </p:nvPr>
        </p:nvSpPr>
        <p:spPr>
          <a:xfrm>
            <a:off x="1447800" y="2409318"/>
            <a:ext cx="9578009" cy="3171295"/>
          </a:xfrm>
        </p:spPr>
        <p:txBody>
          <a:bodyPr/>
          <a:lstStyle/>
          <a:p>
            <a:pPr marL="342900" indent="-342900" eaLnBrk="1" hangingPunct="1">
              <a:buClr>
                <a:srgbClr val="00B050"/>
              </a:buClr>
              <a:buFont typeface="Wingdings" pitchFamily="2" charset="2"/>
              <a:buChar char="ü"/>
            </a:pPr>
            <a:r>
              <a:rPr lang="en-US" sz="2400" u="sng" dirty="0"/>
              <a:t>To meet</a:t>
            </a:r>
            <a:r>
              <a:rPr lang="en-US" sz="2400" dirty="0"/>
              <a:t>, to challenge existing business, to learn </a:t>
            </a:r>
            <a:r>
              <a:rPr lang="mr-IN" sz="2400" dirty="0"/>
              <a:t>–</a:t>
            </a:r>
            <a:r>
              <a:rPr lang="en-US" sz="2400" dirty="0"/>
              <a:t> and to adapt from state of the art solutions</a:t>
            </a:r>
          </a:p>
          <a:p>
            <a:pPr marL="342900" indent="-342900" eaLnBrk="1" hangingPunct="1">
              <a:buClr>
                <a:srgbClr val="00B050"/>
              </a:buClr>
              <a:buFont typeface="Wingdings" pitchFamily="2" charset="2"/>
              <a:buChar char="ü"/>
            </a:pPr>
            <a:r>
              <a:rPr lang="en-US" sz="2400" dirty="0"/>
              <a:t>To </a:t>
            </a:r>
            <a:r>
              <a:rPr lang="en-US" sz="2400" u="sng" dirty="0"/>
              <a:t>arrange discovery expeditions </a:t>
            </a:r>
            <a:r>
              <a:rPr lang="en-US" sz="2400" dirty="0"/>
              <a:t>internationally to expand business understanding as well as new ways of creating value</a:t>
            </a:r>
          </a:p>
          <a:p>
            <a:pPr marL="342900" indent="-342900" eaLnBrk="1" hangingPunct="1">
              <a:buClr>
                <a:srgbClr val="00B050"/>
              </a:buClr>
              <a:buFont typeface="Wingdings" pitchFamily="2" charset="2"/>
              <a:buChar char="ü"/>
            </a:pPr>
            <a:r>
              <a:rPr lang="en-US" sz="2400" dirty="0"/>
              <a:t>To </a:t>
            </a:r>
            <a:r>
              <a:rPr lang="en-US" sz="2400" u="sng" dirty="0"/>
              <a:t>cooperate with leading academic </a:t>
            </a:r>
            <a:r>
              <a:rPr lang="en-US" sz="2400" u="sng" dirty="0" err="1"/>
              <a:t>instiutions</a:t>
            </a:r>
            <a:endParaRPr lang="en-US" sz="2400" u="sng" dirty="0"/>
          </a:p>
          <a:p>
            <a:pPr marL="342900" indent="-342900" eaLnBrk="1" hangingPunct="1">
              <a:buClr>
                <a:srgbClr val="00B050"/>
              </a:buClr>
              <a:buFont typeface="Wingdings" pitchFamily="2" charset="2"/>
              <a:buChar char="ü"/>
            </a:pPr>
            <a:r>
              <a:rPr lang="en-US" sz="2400" u="sng" dirty="0"/>
              <a:t>Techno scouting </a:t>
            </a:r>
            <a:r>
              <a:rPr lang="en-US" sz="2400" dirty="0"/>
              <a:t>for members – on demand</a:t>
            </a:r>
          </a:p>
          <a:p>
            <a:pPr marL="342900" indent="-342900" eaLnBrk="1" hangingPunct="1">
              <a:buClr>
                <a:srgbClr val="00B050"/>
              </a:buClr>
              <a:buFont typeface="Wingdings" pitchFamily="2" charset="2"/>
              <a:buChar char="ü"/>
            </a:pPr>
            <a:r>
              <a:rPr lang="en-US" sz="2400" u="sng" dirty="0"/>
              <a:t>Executive Smart Program </a:t>
            </a:r>
            <a:r>
              <a:rPr lang="en-US" sz="2400" dirty="0"/>
              <a:t>– leadership program for partners/members</a:t>
            </a:r>
          </a:p>
          <a:p>
            <a:pPr marL="285750" indent="-285750" eaLnBrk="1" hangingPunct="1">
              <a:buFont typeface="Wingdings" charset="2"/>
              <a:buChar char="q"/>
            </a:pPr>
            <a:endParaRPr lang="en-US" altLang="nb-NO" sz="2400" b="1" dirty="0">
              <a:ea typeface="ＭＳ Ｐゴシック" charset="-128"/>
            </a:endParaRPr>
          </a:p>
        </p:txBody>
      </p:sp>
    </p:spTree>
    <p:extLst>
      <p:ext uri="{BB962C8B-B14F-4D97-AF65-F5344CB8AC3E}">
        <p14:creationId xmlns:p14="http://schemas.microsoft.com/office/powerpoint/2010/main" val="516699759"/>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
            <a:extLst>
              <a:ext uri="{FF2B5EF4-FFF2-40B4-BE49-F238E27FC236}">
                <a16:creationId xmlns:a16="http://schemas.microsoft.com/office/drawing/2014/main" id="{9C017E32-AA8F-444D-A668-E54C64D65FC3}"/>
              </a:ext>
            </a:extLst>
          </p:cNvPr>
          <p:cNvSpPr txBox="1"/>
          <p:nvPr/>
        </p:nvSpPr>
        <p:spPr>
          <a:xfrm>
            <a:off x="158750" y="1743075"/>
            <a:ext cx="11904544" cy="514168"/>
          </a:xfrm>
          <a:prstGeom prst="rect">
            <a:avLst/>
          </a:prstGeom>
          <a:solidFill>
            <a:schemeClr val="bg1"/>
          </a:solidFill>
        </p:spPr>
        <p:txBody>
          <a:bodyPr wrap="square" rtlCol="0">
            <a:spAutoFit/>
          </a:bodyPr>
          <a:lstStyle/>
          <a:p>
            <a:endParaRPr lang="nb-NO" dirty="0"/>
          </a:p>
        </p:txBody>
      </p:sp>
      <p:sp>
        <p:nvSpPr>
          <p:cNvPr id="6" name="TekstSylinder 5">
            <a:extLst>
              <a:ext uri="{FF2B5EF4-FFF2-40B4-BE49-F238E27FC236}">
                <a16:creationId xmlns:a16="http://schemas.microsoft.com/office/drawing/2014/main" id="{4376135B-30E3-AF41-B1AD-8C24166CAAFB}"/>
              </a:ext>
            </a:extLst>
          </p:cNvPr>
          <p:cNvSpPr txBox="1"/>
          <p:nvPr/>
        </p:nvSpPr>
        <p:spPr>
          <a:xfrm>
            <a:off x="10946892" y="6834972"/>
            <a:ext cx="0" cy="0"/>
          </a:xfrm>
          <a:prstGeom prst="rect">
            <a:avLst/>
          </a:prstGeom>
          <a:noFill/>
        </p:spPr>
        <p:txBody>
          <a:bodyPr wrap="none" rtlCol="0">
            <a:noAutofit/>
          </a:bodyPr>
          <a:lstStyle/>
          <a:p>
            <a:pPr algn="l"/>
            <a:endParaRPr lang="nb-NO" sz="1400" dirty="0" err="1"/>
          </a:p>
        </p:txBody>
      </p:sp>
      <p:graphicFrame>
        <p:nvGraphicFramePr>
          <p:cNvPr id="7" name="Plassholder for innhold 3">
            <a:extLst>
              <a:ext uri="{FF2B5EF4-FFF2-40B4-BE49-F238E27FC236}">
                <a16:creationId xmlns:a16="http://schemas.microsoft.com/office/drawing/2014/main" id="{6AD91AC4-EBF5-AA41-AD30-E8052F5C805E}"/>
              </a:ext>
            </a:extLst>
          </p:cNvPr>
          <p:cNvGraphicFramePr>
            <a:graphicFrameLocks/>
          </p:cNvGraphicFramePr>
          <p:nvPr/>
        </p:nvGraphicFramePr>
        <p:xfrm>
          <a:off x="6269142" y="324949"/>
          <a:ext cx="6951892" cy="65800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Plassholder for innhold 2">
            <a:extLst>
              <a:ext uri="{FF2B5EF4-FFF2-40B4-BE49-F238E27FC236}">
                <a16:creationId xmlns:a16="http://schemas.microsoft.com/office/drawing/2014/main" id="{95BFD23F-9D6F-5340-890E-C8E13BD37063}"/>
              </a:ext>
            </a:extLst>
          </p:cNvPr>
          <p:cNvSpPr txBox="1">
            <a:spLocks/>
          </p:cNvSpPr>
          <p:nvPr/>
        </p:nvSpPr>
        <p:spPr>
          <a:xfrm>
            <a:off x="1493621" y="1933973"/>
            <a:ext cx="4775521" cy="290774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B050"/>
              </a:buClr>
              <a:buFont typeface="Wingdings" pitchFamily="2" charset="2"/>
              <a:buChar char="ü"/>
            </a:pPr>
            <a:r>
              <a:rPr lang="nb-NO" sz="2400" dirty="0" err="1"/>
              <a:t>Techno</a:t>
            </a:r>
            <a:r>
              <a:rPr lang="nb-NO" sz="2400" dirty="0"/>
              <a:t> </a:t>
            </a:r>
            <a:r>
              <a:rPr lang="nb-NO" sz="2400" dirty="0" err="1"/>
              <a:t>scouting</a:t>
            </a:r>
            <a:r>
              <a:rPr lang="nb-NO" sz="2400" dirty="0"/>
              <a:t> is "</a:t>
            </a:r>
            <a:r>
              <a:rPr lang="nb-NO" sz="2400" dirty="0" err="1"/>
              <a:t>venture</a:t>
            </a:r>
            <a:r>
              <a:rPr lang="nb-NO" sz="2400" dirty="0"/>
              <a:t> </a:t>
            </a:r>
            <a:r>
              <a:rPr lang="nb-NO" sz="2400" dirty="0" err="1"/>
              <a:t>light</a:t>
            </a:r>
            <a:r>
              <a:rPr lang="nb-NO" sz="2400" dirty="0"/>
              <a:t>" and </a:t>
            </a:r>
            <a:r>
              <a:rPr lang="nb-NO" sz="2400" dirty="0" err="1"/>
              <a:t>early</a:t>
            </a:r>
            <a:r>
              <a:rPr lang="nb-NO" sz="2400" dirty="0"/>
              <a:t> </a:t>
            </a:r>
            <a:r>
              <a:rPr lang="nb-NO" sz="2400" dirty="0" err="1"/>
              <a:t>phase</a:t>
            </a:r>
            <a:r>
              <a:rPr lang="nb-NO" sz="2400" dirty="0"/>
              <a:t> </a:t>
            </a:r>
            <a:r>
              <a:rPr lang="nb-NO" sz="2400" dirty="0" err="1"/>
              <a:t>identification</a:t>
            </a:r>
            <a:r>
              <a:rPr lang="nb-NO" sz="2400" dirty="0"/>
              <a:t> </a:t>
            </a:r>
            <a:r>
              <a:rPr lang="nb-NO" sz="2400" dirty="0" err="1"/>
              <a:t>of</a:t>
            </a:r>
            <a:r>
              <a:rPr lang="nb-NO" sz="2400" dirty="0"/>
              <a:t> </a:t>
            </a:r>
            <a:r>
              <a:rPr lang="nb-NO" sz="2400" dirty="0" err="1"/>
              <a:t>new</a:t>
            </a:r>
            <a:r>
              <a:rPr lang="nb-NO" sz="2400" dirty="0"/>
              <a:t> </a:t>
            </a:r>
            <a:r>
              <a:rPr lang="nb-NO" sz="2400" dirty="0" err="1"/>
              <a:t>solutions</a:t>
            </a:r>
            <a:r>
              <a:rPr lang="nb-NO" sz="2400" dirty="0"/>
              <a:t> – at </a:t>
            </a:r>
            <a:r>
              <a:rPr lang="nb-NO" sz="2400" dirty="0" err="1"/>
              <a:t>the</a:t>
            </a:r>
            <a:r>
              <a:rPr lang="nb-NO" sz="2400" dirty="0"/>
              <a:t> same time</a:t>
            </a:r>
          </a:p>
          <a:p>
            <a:pPr>
              <a:buClr>
                <a:srgbClr val="00B050"/>
              </a:buClr>
              <a:buFont typeface="Wingdings" pitchFamily="2" charset="2"/>
              <a:buChar char="ü"/>
            </a:pPr>
            <a:r>
              <a:rPr lang="nb-NO" sz="2400" dirty="0"/>
              <a:t>Our </a:t>
            </a:r>
            <a:r>
              <a:rPr lang="nb-NO" sz="2400" dirty="0" err="1"/>
              <a:t>model</a:t>
            </a:r>
            <a:r>
              <a:rPr lang="nb-NO" sz="2400" dirty="0"/>
              <a:t> makes it </a:t>
            </a:r>
            <a:r>
              <a:rPr lang="nb-NO" sz="2400" dirty="0" err="1"/>
              <a:t>possible</a:t>
            </a:r>
            <a:r>
              <a:rPr lang="nb-NO" sz="2400" dirty="0"/>
              <a:t> to </a:t>
            </a:r>
            <a:r>
              <a:rPr lang="nb-NO" sz="2400" dirty="0" err="1"/>
              <a:t>identify</a:t>
            </a:r>
            <a:r>
              <a:rPr lang="nb-NO" sz="2400" dirty="0"/>
              <a:t> </a:t>
            </a:r>
            <a:r>
              <a:rPr lang="nb-NO" sz="2400" dirty="0" err="1"/>
              <a:t>new</a:t>
            </a:r>
            <a:r>
              <a:rPr lang="nb-NO" sz="2400" dirty="0"/>
              <a:t> business </a:t>
            </a:r>
            <a:r>
              <a:rPr lang="nb-NO" sz="2400" dirty="0" err="1"/>
              <a:t>solutions</a:t>
            </a:r>
            <a:r>
              <a:rPr lang="nb-NO" sz="2400" dirty="0"/>
              <a:t> in a time-</a:t>
            </a:r>
            <a:r>
              <a:rPr lang="nb-NO" sz="2400" dirty="0" err="1"/>
              <a:t>saving</a:t>
            </a:r>
            <a:r>
              <a:rPr lang="nb-NO" sz="2400" dirty="0"/>
              <a:t> and </a:t>
            </a:r>
            <a:r>
              <a:rPr lang="nb-NO" sz="2400" dirty="0" err="1"/>
              <a:t>efficient</a:t>
            </a:r>
            <a:r>
              <a:rPr lang="nb-NO" sz="2400" dirty="0"/>
              <a:t> </a:t>
            </a:r>
            <a:r>
              <a:rPr lang="nb-NO" sz="2400" dirty="0" err="1"/>
              <a:t>way</a:t>
            </a:r>
            <a:r>
              <a:rPr lang="nb-NO" sz="2400" dirty="0"/>
              <a:t>, </a:t>
            </a:r>
            <a:r>
              <a:rPr lang="nb-NO" sz="2400" dirty="0" err="1"/>
              <a:t>with</a:t>
            </a:r>
            <a:r>
              <a:rPr lang="nb-NO" sz="2400" dirty="0"/>
              <a:t> less </a:t>
            </a:r>
            <a:r>
              <a:rPr lang="nb-NO" sz="2400" dirty="0" err="1"/>
              <a:t>resources</a:t>
            </a:r>
            <a:r>
              <a:rPr lang="nb-NO" sz="2400" dirty="0"/>
              <a:t>, minimal risk and </a:t>
            </a:r>
            <a:r>
              <a:rPr lang="nb-NO" sz="2400" dirty="0" err="1"/>
              <a:t>with</a:t>
            </a:r>
            <a:r>
              <a:rPr lang="nb-NO" sz="2400" dirty="0"/>
              <a:t> </a:t>
            </a:r>
            <a:r>
              <a:rPr lang="nb-NO" sz="2400" dirty="0" err="1"/>
              <a:t>the</a:t>
            </a:r>
            <a:r>
              <a:rPr lang="nb-NO" sz="2400" dirty="0"/>
              <a:t> </a:t>
            </a:r>
            <a:r>
              <a:rPr lang="nb-NO" sz="2400" dirty="0" err="1"/>
              <a:t>assistance</a:t>
            </a:r>
            <a:r>
              <a:rPr lang="nb-NO" sz="2400" dirty="0"/>
              <a:t> </a:t>
            </a:r>
            <a:r>
              <a:rPr lang="nb-NO" sz="2400" dirty="0" err="1"/>
              <a:t>of</a:t>
            </a:r>
            <a:r>
              <a:rPr lang="nb-NO" sz="2400" dirty="0"/>
              <a:t> </a:t>
            </a:r>
            <a:r>
              <a:rPr lang="nb-NO" sz="2400" dirty="0" err="1"/>
              <a:t>cutting-edge</a:t>
            </a:r>
            <a:r>
              <a:rPr lang="nb-NO" sz="2400" dirty="0"/>
              <a:t> </a:t>
            </a:r>
            <a:r>
              <a:rPr lang="nb-NO" sz="2400" dirty="0" err="1"/>
              <a:t>expertise</a:t>
            </a:r>
            <a:r>
              <a:rPr lang="nb-NO" sz="2400" dirty="0"/>
              <a:t>!</a:t>
            </a:r>
          </a:p>
          <a:p>
            <a:pPr>
              <a:buClr>
                <a:srgbClr val="00B050"/>
              </a:buClr>
              <a:buFont typeface="Wingdings" pitchFamily="2" charset="2"/>
              <a:buChar char="ü"/>
            </a:pPr>
            <a:r>
              <a:rPr lang="nb-NO" sz="2400" dirty="0" err="1"/>
              <a:t>We</a:t>
            </a:r>
            <a:r>
              <a:rPr lang="nb-NO" sz="2400" dirty="0"/>
              <a:t> </a:t>
            </a:r>
            <a:r>
              <a:rPr lang="nb-NO" sz="2400" dirty="0" err="1"/>
              <a:t>collaborate</a:t>
            </a:r>
            <a:r>
              <a:rPr lang="nb-NO" sz="2400" dirty="0"/>
              <a:t> </a:t>
            </a:r>
            <a:r>
              <a:rPr lang="nb-NO" sz="2400" dirty="0" err="1"/>
              <a:t>with</a:t>
            </a:r>
            <a:r>
              <a:rPr lang="nb-NO" sz="2400" dirty="0"/>
              <a:t> </a:t>
            </a:r>
            <a:r>
              <a:rPr lang="nb-NO" sz="2400" dirty="0" err="1"/>
              <a:t>the</a:t>
            </a:r>
            <a:r>
              <a:rPr lang="nb-NO" sz="2400" dirty="0"/>
              <a:t> </a:t>
            </a:r>
            <a:r>
              <a:rPr lang="nb-NO" sz="2400" dirty="0" err="1"/>
              <a:t>world's</a:t>
            </a:r>
            <a:r>
              <a:rPr lang="nb-NO" sz="2400" dirty="0"/>
              <a:t> </a:t>
            </a:r>
            <a:r>
              <a:rPr lang="nb-NO" sz="2400" dirty="0" err="1"/>
              <a:t>leading</a:t>
            </a:r>
            <a:r>
              <a:rPr lang="nb-NO" sz="2400" dirty="0"/>
              <a:t> innovation </a:t>
            </a:r>
            <a:r>
              <a:rPr lang="nb-NO" sz="2400" dirty="0" err="1"/>
              <a:t>environments</a:t>
            </a:r>
            <a:r>
              <a:rPr lang="nb-NO" sz="2400" dirty="0"/>
              <a:t> and </a:t>
            </a:r>
            <a:r>
              <a:rPr lang="nb-NO" sz="2400" dirty="0" err="1"/>
              <a:t>resources</a:t>
            </a:r>
            <a:endParaRPr lang="nb-NO" sz="2400" dirty="0"/>
          </a:p>
        </p:txBody>
      </p:sp>
      <p:sp>
        <p:nvSpPr>
          <p:cNvPr id="9" name="TekstSylinder 8">
            <a:extLst>
              <a:ext uri="{FF2B5EF4-FFF2-40B4-BE49-F238E27FC236}">
                <a16:creationId xmlns:a16="http://schemas.microsoft.com/office/drawing/2014/main" id="{133CAC4A-B024-6A42-BB2E-9632780C568C}"/>
              </a:ext>
            </a:extLst>
          </p:cNvPr>
          <p:cNvSpPr txBox="1"/>
          <p:nvPr/>
        </p:nvSpPr>
        <p:spPr>
          <a:xfrm>
            <a:off x="3693459" y="1972235"/>
            <a:ext cx="184731" cy="369332"/>
          </a:xfrm>
          <a:prstGeom prst="rect">
            <a:avLst/>
          </a:prstGeom>
          <a:noFill/>
        </p:spPr>
        <p:txBody>
          <a:bodyPr wrap="none" rtlCol="0">
            <a:spAutoFit/>
          </a:bodyPr>
          <a:lstStyle/>
          <a:p>
            <a:endParaRPr lang="nb-NO" dirty="0"/>
          </a:p>
        </p:txBody>
      </p:sp>
      <p:sp>
        <p:nvSpPr>
          <p:cNvPr id="10" name="Plassholder for innhold 2">
            <a:extLst>
              <a:ext uri="{FF2B5EF4-FFF2-40B4-BE49-F238E27FC236}">
                <a16:creationId xmlns:a16="http://schemas.microsoft.com/office/drawing/2014/main" id="{394C13A4-8A47-2C49-9EB4-38E7A6B381F5}"/>
              </a:ext>
            </a:extLst>
          </p:cNvPr>
          <p:cNvSpPr txBox="1">
            <a:spLocks/>
          </p:cNvSpPr>
          <p:nvPr/>
        </p:nvSpPr>
        <p:spPr>
          <a:xfrm>
            <a:off x="452725" y="5671471"/>
            <a:ext cx="7129676" cy="51416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b-NO" sz="1800" dirty="0"/>
          </a:p>
        </p:txBody>
      </p:sp>
      <p:sp>
        <p:nvSpPr>
          <p:cNvPr id="5" name="Title 6">
            <a:extLst>
              <a:ext uri="{FF2B5EF4-FFF2-40B4-BE49-F238E27FC236}">
                <a16:creationId xmlns:a16="http://schemas.microsoft.com/office/drawing/2014/main" id="{E4765758-1984-2F4E-96DA-3FF58150C9C2}"/>
              </a:ext>
            </a:extLst>
          </p:cNvPr>
          <p:cNvSpPr>
            <a:spLocks noGrp="1"/>
          </p:cNvSpPr>
          <p:nvPr>
            <p:ph type="title"/>
          </p:nvPr>
        </p:nvSpPr>
        <p:spPr>
          <a:xfrm>
            <a:off x="3925573" y="426026"/>
            <a:ext cx="11521900" cy="838690"/>
          </a:xfrm>
        </p:spPr>
        <p:txBody>
          <a:bodyPr>
            <a:normAutofit/>
          </a:bodyPr>
          <a:lstStyle/>
          <a:p>
            <a:r>
              <a:rPr lang="nb-NO" dirty="0">
                <a:solidFill>
                  <a:schemeClr val="bg1"/>
                </a:solidFill>
              </a:rPr>
              <a:t>  WHAT IS</a:t>
            </a:r>
            <a:r>
              <a:rPr lang="nb-NO" sz="2800" dirty="0">
                <a:solidFill>
                  <a:schemeClr val="bg1"/>
                </a:solidFill>
              </a:rPr>
              <a:t> «</a:t>
            </a:r>
            <a:r>
              <a:rPr lang="nb-NO" sz="2800" dirty="0" err="1">
                <a:solidFill>
                  <a:schemeClr val="bg1"/>
                </a:solidFill>
              </a:rPr>
              <a:t>techno</a:t>
            </a:r>
            <a:r>
              <a:rPr lang="nb-NO" sz="2800" dirty="0">
                <a:solidFill>
                  <a:schemeClr val="bg1"/>
                </a:solidFill>
              </a:rPr>
              <a:t> </a:t>
            </a:r>
            <a:r>
              <a:rPr lang="nb-NO" sz="2800" dirty="0" err="1">
                <a:solidFill>
                  <a:schemeClr val="bg1"/>
                </a:solidFill>
              </a:rPr>
              <a:t>scouting</a:t>
            </a:r>
            <a:r>
              <a:rPr lang="nb-NO" sz="2800" dirty="0">
                <a:solidFill>
                  <a:schemeClr val="bg1"/>
                </a:solidFill>
              </a:rPr>
              <a:t>»? </a:t>
            </a:r>
          </a:p>
        </p:txBody>
      </p:sp>
    </p:spTree>
    <p:extLst>
      <p:ext uri="{BB962C8B-B14F-4D97-AF65-F5344CB8AC3E}">
        <p14:creationId xmlns:p14="http://schemas.microsoft.com/office/powerpoint/2010/main" val="163284929"/>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A39CE642-4DC7-0B47-9475-DAA03D7381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2068" y="5617108"/>
            <a:ext cx="1333556" cy="1281696"/>
          </a:xfrm>
          <a:prstGeom prst="rect">
            <a:avLst/>
          </a:prstGeom>
        </p:spPr>
      </p:pic>
      <p:sp>
        <p:nvSpPr>
          <p:cNvPr id="2" name="Title 1">
            <a:extLst>
              <a:ext uri="{FF2B5EF4-FFF2-40B4-BE49-F238E27FC236}">
                <a16:creationId xmlns:a16="http://schemas.microsoft.com/office/drawing/2014/main" id="{9EE1241D-A03F-504F-AEC2-A9F4BCEBF9FF}"/>
              </a:ext>
            </a:extLst>
          </p:cNvPr>
          <p:cNvSpPr>
            <a:spLocks noGrp="1"/>
          </p:cNvSpPr>
          <p:nvPr>
            <p:ph type="title"/>
          </p:nvPr>
        </p:nvSpPr>
        <p:spPr>
          <a:xfrm>
            <a:off x="4162103" y="381932"/>
            <a:ext cx="7071954" cy="888737"/>
          </a:xfrm>
        </p:spPr>
        <p:txBody>
          <a:bodyPr/>
          <a:lstStyle/>
          <a:p>
            <a:r>
              <a:rPr lang="nb-NO" dirty="0">
                <a:solidFill>
                  <a:schemeClr val="bg1"/>
                </a:solidFill>
              </a:rPr>
              <a:t>NORWEGIAN PARTNERS AND </a:t>
            </a:r>
            <a:r>
              <a:rPr lang="nb-NO" dirty="0" err="1">
                <a:solidFill>
                  <a:schemeClr val="bg1"/>
                </a:solidFill>
              </a:rPr>
              <a:t>Members</a:t>
            </a:r>
            <a:r>
              <a:rPr lang="nb-NO" dirty="0">
                <a:solidFill>
                  <a:schemeClr val="bg1"/>
                </a:solidFill>
              </a:rPr>
              <a:t> </a:t>
            </a:r>
          </a:p>
        </p:txBody>
      </p:sp>
      <p:pic>
        <p:nvPicPr>
          <p:cNvPr id="5" name="Content Placeholder 4">
            <a:extLst>
              <a:ext uri="{FF2B5EF4-FFF2-40B4-BE49-F238E27FC236}">
                <a16:creationId xmlns:a16="http://schemas.microsoft.com/office/drawing/2014/main" id="{AB28F8A9-F8DC-F749-B4EB-382916FBE8B7}"/>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10551255" y="2787519"/>
            <a:ext cx="1363923" cy="754937"/>
          </a:xfrm>
        </p:spPr>
      </p:pic>
      <p:pic>
        <p:nvPicPr>
          <p:cNvPr id="7" name="Picture 6">
            <a:extLst>
              <a:ext uri="{FF2B5EF4-FFF2-40B4-BE49-F238E27FC236}">
                <a16:creationId xmlns:a16="http://schemas.microsoft.com/office/drawing/2014/main" id="{93C3FFD0-6E31-6B45-B35E-04438283217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44261" y="3711768"/>
            <a:ext cx="1715245" cy="645821"/>
          </a:xfrm>
          <a:prstGeom prst="rect">
            <a:avLst/>
          </a:prstGeom>
        </p:spPr>
      </p:pic>
      <p:pic>
        <p:nvPicPr>
          <p:cNvPr id="17" name="Picture 16">
            <a:extLst>
              <a:ext uri="{FF2B5EF4-FFF2-40B4-BE49-F238E27FC236}">
                <a16:creationId xmlns:a16="http://schemas.microsoft.com/office/drawing/2014/main" id="{E8D3A52C-6E28-4542-A83D-E1737596459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24479" y="5581332"/>
            <a:ext cx="1748417" cy="506276"/>
          </a:xfrm>
          <a:prstGeom prst="rect">
            <a:avLst/>
          </a:prstGeom>
        </p:spPr>
      </p:pic>
      <p:pic>
        <p:nvPicPr>
          <p:cNvPr id="19" name="Picture 18">
            <a:extLst>
              <a:ext uri="{FF2B5EF4-FFF2-40B4-BE49-F238E27FC236}">
                <a16:creationId xmlns:a16="http://schemas.microsoft.com/office/drawing/2014/main" id="{600A9E13-D9CB-814C-86F2-576A22612B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51580" y="6087608"/>
            <a:ext cx="1830441" cy="738550"/>
          </a:xfrm>
          <a:prstGeom prst="rect">
            <a:avLst/>
          </a:prstGeom>
        </p:spPr>
      </p:pic>
      <p:pic>
        <p:nvPicPr>
          <p:cNvPr id="27" name="Picture 26">
            <a:extLst>
              <a:ext uri="{FF2B5EF4-FFF2-40B4-BE49-F238E27FC236}">
                <a16:creationId xmlns:a16="http://schemas.microsoft.com/office/drawing/2014/main" id="{8A83CC03-8163-9941-B66C-85B23D8AE1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60897" y="2771616"/>
            <a:ext cx="1735924" cy="505741"/>
          </a:xfrm>
          <a:prstGeom prst="rect">
            <a:avLst/>
          </a:prstGeom>
        </p:spPr>
      </p:pic>
      <p:pic>
        <p:nvPicPr>
          <p:cNvPr id="29" name="Picture 28">
            <a:extLst>
              <a:ext uri="{FF2B5EF4-FFF2-40B4-BE49-F238E27FC236}">
                <a16:creationId xmlns:a16="http://schemas.microsoft.com/office/drawing/2014/main" id="{CA2FA6E6-CDBA-994A-9AFB-82BA0D92E67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86217" y="5428555"/>
            <a:ext cx="1773747" cy="657452"/>
          </a:xfrm>
          <a:prstGeom prst="rect">
            <a:avLst/>
          </a:prstGeom>
        </p:spPr>
      </p:pic>
      <p:pic>
        <p:nvPicPr>
          <p:cNvPr id="33" name="Picture 32">
            <a:extLst>
              <a:ext uri="{FF2B5EF4-FFF2-40B4-BE49-F238E27FC236}">
                <a16:creationId xmlns:a16="http://schemas.microsoft.com/office/drawing/2014/main" id="{45F4E66D-DAC3-B144-A2C4-2E67A6EE597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13342" y="3791002"/>
            <a:ext cx="1441510" cy="555509"/>
          </a:xfrm>
          <a:prstGeom prst="rect">
            <a:avLst/>
          </a:prstGeom>
        </p:spPr>
      </p:pic>
      <p:pic>
        <p:nvPicPr>
          <p:cNvPr id="37" name="Picture 36">
            <a:extLst>
              <a:ext uri="{FF2B5EF4-FFF2-40B4-BE49-F238E27FC236}">
                <a16:creationId xmlns:a16="http://schemas.microsoft.com/office/drawing/2014/main" id="{7AD9CDD4-6DA1-6D49-9D2D-44D2F387A54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429525" y="6118273"/>
            <a:ext cx="1762475" cy="609251"/>
          </a:xfrm>
          <a:prstGeom prst="rect">
            <a:avLst/>
          </a:prstGeom>
        </p:spPr>
      </p:pic>
      <p:pic>
        <p:nvPicPr>
          <p:cNvPr id="24" name="Bilde 23">
            <a:extLst>
              <a:ext uri="{FF2B5EF4-FFF2-40B4-BE49-F238E27FC236}">
                <a16:creationId xmlns:a16="http://schemas.microsoft.com/office/drawing/2014/main" id="{39CB78F2-5154-2542-AE41-7B3C805BB7F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527352" y="5478703"/>
            <a:ext cx="1621930" cy="611839"/>
          </a:xfrm>
          <a:prstGeom prst="rect">
            <a:avLst/>
          </a:prstGeom>
        </p:spPr>
      </p:pic>
      <p:pic>
        <p:nvPicPr>
          <p:cNvPr id="8" name="Bilde 7">
            <a:extLst>
              <a:ext uri="{FF2B5EF4-FFF2-40B4-BE49-F238E27FC236}">
                <a16:creationId xmlns:a16="http://schemas.microsoft.com/office/drawing/2014/main" id="{232EB889-B754-5346-B966-F90390C3789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796530" y="4073277"/>
            <a:ext cx="969925" cy="892611"/>
          </a:xfrm>
          <a:prstGeom prst="rect">
            <a:avLst/>
          </a:prstGeom>
        </p:spPr>
      </p:pic>
      <p:pic>
        <p:nvPicPr>
          <p:cNvPr id="36" name="Bilde 35">
            <a:extLst>
              <a:ext uri="{FF2B5EF4-FFF2-40B4-BE49-F238E27FC236}">
                <a16:creationId xmlns:a16="http://schemas.microsoft.com/office/drawing/2014/main" id="{F783F198-EEDD-A241-A962-AB8DA7BF4EBF}"/>
              </a:ext>
            </a:extLst>
          </p:cNvPr>
          <p:cNvPicPr>
            <a:picLocks noChangeAspect="1"/>
          </p:cNvPicPr>
          <p:nvPr/>
        </p:nvPicPr>
        <p:blipFill>
          <a:blip r:embed="rId14"/>
          <a:stretch>
            <a:fillRect/>
          </a:stretch>
        </p:blipFill>
        <p:spPr>
          <a:xfrm>
            <a:off x="10352345" y="1902879"/>
            <a:ext cx="1661638" cy="498492"/>
          </a:xfrm>
          <a:prstGeom prst="rect">
            <a:avLst/>
          </a:prstGeom>
        </p:spPr>
      </p:pic>
      <p:pic>
        <p:nvPicPr>
          <p:cNvPr id="38" name="Picture 22">
            <a:extLst>
              <a:ext uri="{FF2B5EF4-FFF2-40B4-BE49-F238E27FC236}">
                <a16:creationId xmlns:a16="http://schemas.microsoft.com/office/drawing/2014/main" id="{4A31AE53-C302-504D-BDE5-38FB38394C8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446576" y="1858568"/>
            <a:ext cx="1839334" cy="556805"/>
          </a:xfrm>
          <a:prstGeom prst="rect">
            <a:avLst/>
          </a:prstGeom>
        </p:spPr>
      </p:pic>
      <p:pic>
        <p:nvPicPr>
          <p:cNvPr id="16" name="Bilde 15">
            <a:extLst>
              <a:ext uri="{FF2B5EF4-FFF2-40B4-BE49-F238E27FC236}">
                <a16:creationId xmlns:a16="http://schemas.microsoft.com/office/drawing/2014/main" id="{950E9EBC-ECD9-D844-9942-0B76023ABD1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752516" y="4450901"/>
            <a:ext cx="2044014" cy="430319"/>
          </a:xfrm>
          <a:prstGeom prst="rect">
            <a:avLst/>
          </a:prstGeom>
        </p:spPr>
      </p:pic>
      <p:cxnSp>
        <p:nvCxnSpPr>
          <p:cNvPr id="22" name="Rett linje 21">
            <a:extLst>
              <a:ext uri="{FF2B5EF4-FFF2-40B4-BE49-F238E27FC236}">
                <a16:creationId xmlns:a16="http://schemas.microsoft.com/office/drawing/2014/main" id="{DE09F5A7-5DED-7646-B26C-322E2E0E9B3E}"/>
              </a:ext>
            </a:extLst>
          </p:cNvPr>
          <p:cNvCxnSpPr>
            <a:cxnSpLocks/>
          </p:cNvCxnSpPr>
          <p:nvPr/>
        </p:nvCxnSpPr>
        <p:spPr>
          <a:xfrm>
            <a:off x="239229" y="2561876"/>
            <a:ext cx="11971480" cy="1888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Bilde 12">
            <a:extLst>
              <a:ext uri="{FF2B5EF4-FFF2-40B4-BE49-F238E27FC236}">
                <a16:creationId xmlns:a16="http://schemas.microsoft.com/office/drawing/2014/main" id="{D2067005-B04C-F746-9968-CEE2EBAC14D9}"/>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535334" y="2832148"/>
            <a:ext cx="894191" cy="967994"/>
          </a:xfrm>
          <a:prstGeom prst="rect">
            <a:avLst/>
          </a:prstGeom>
        </p:spPr>
      </p:pic>
      <p:pic>
        <p:nvPicPr>
          <p:cNvPr id="31" name="Bilde 30">
            <a:extLst>
              <a:ext uri="{FF2B5EF4-FFF2-40B4-BE49-F238E27FC236}">
                <a16:creationId xmlns:a16="http://schemas.microsoft.com/office/drawing/2014/main" id="{C3BBFAC6-10B5-BF4E-8B0B-2226F087A882}"/>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6817480" y="4073277"/>
            <a:ext cx="858890" cy="843870"/>
          </a:xfrm>
          <a:prstGeom prst="rect">
            <a:avLst/>
          </a:prstGeom>
        </p:spPr>
      </p:pic>
      <p:pic>
        <p:nvPicPr>
          <p:cNvPr id="40" name="Bilde 39">
            <a:extLst>
              <a:ext uri="{FF2B5EF4-FFF2-40B4-BE49-F238E27FC236}">
                <a16:creationId xmlns:a16="http://schemas.microsoft.com/office/drawing/2014/main" id="{D25B7011-C6F8-7546-AE4D-048A8DB20A3B}"/>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44159" y="5406451"/>
            <a:ext cx="1112623" cy="829219"/>
          </a:xfrm>
          <a:prstGeom prst="rect">
            <a:avLst/>
          </a:prstGeom>
        </p:spPr>
      </p:pic>
      <p:pic>
        <p:nvPicPr>
          <p:cNvPr id="26" name="Bilde 25" descr="Et bilde som inneholder fugl&#10;&#10;Automatisk generert beskrivelse">
            <a:extLst>
              <a:ext uri="{FF2B5EF4-FFF2-40B4-BE49-F238E27FC236}">
                <a16:creationId xmlns:a16="http://schemas.microsoft.com/office/drawing/2014/main" id="{13B96098-379E-3F4C-A4EB-4D9B4B5B3DA7}"/>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523174" y="3791211"/>
            <a:ext cx="876711" cy="893571"/>
          </a:xfrm>
          <a:prstGeom prst="rect">
            <a:avLst/>
          </a:prstGeom>
          <a:ln>
            <a:solidFill>
              <a:schemeClr val="tx1"/>
            </a:solidFill>
          </a:ln>
        </p:spPr>
      </p:pic>
      <p:pic>
        <p:nvPicPr>
          <p:cNvPr id="41" name="Bilde 40" descr="Et bilde som inneholder sitter, tegning, skilt&#10;&#10;Automatisk generert beskrivelse">
            <a:extLst>
              <a:ext uri="{FF2B5EF4-FFF2-40B4-BE49-F238E27FC236}">
                <a16:creationId xmlns:a16="http://schemas.microsoft.com/office/drawing/2014/main" id="{19C494BB-1D05-3244-9EF6-AC92CE4AFC0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390028" y="6152770"/>
            <a:ext cx="1552169" cy="536618"/>
          </a:xfrm>
          <a:prstGeom prst="rect">
            <a:avLst/>
          </a:prstGeom>
        </p:spPr>
      </p:pic>
      <p:pic>
        <p:nvPicPr>
          <p:cNvPr id="39" name="Bilde 38" descr="Et bilde som inneholder mat&#10;&#10;Automatisk generert beskrivelse">
            <a:extLst>
              <a:ext uri="{FF2B5EF4-FFF2-40B4-BE49-F238E27FC236}">
                <a16:creationId xmlns:a16="http://schemas.microsoft.com/office/drawing/2014/main" id="{1F503011-02DF-6244-B74D-73FDEC3B861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9445176" y="4710987"/>
            <a:ext cx="1009598" cy="1225240"/>
          </a:xfrm>
          <a:prstGeom prst="rect">
            <a:avLst/>
          </a:prstGeom>
        </p:spPr>
      </p:pic>
      <p:pic>
        <p:nvPicPr>
          <p:cNvPr id="4" name="Bilde 3">
            <a:extLst>
              <a:ext uri="{FF2B5EF4-FFF2-40B4-BE49-F238E27FC236}">
                <a16:creationId xmlns:a16="http://schemas.microsoft.com/office/drawing/2014/main" id="{67B73A5D-8606-C046-958D-E7DA5D413BFF}"/>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527352" y="4710988"/>
            <a:ext cx="1579861" cy="588576"/>
          </a:xfrm>
          <a:prstGeom prst="rect">
            <a:avLst/>
          </a:prstGeom>
        </p:spPr>
      </p:pic>
      <p:pic>
        <p:nvPicPr>
          <p:cNvPr id="44" name="Bilde 43" descr="Et bilde som inneholder tegning&#10;&#10;Automatisk generert beskrivelse">
            <a:extLst>
              <a:ext uri="{FF2B5EF4-FFF2-40B4-BE49-F238E27FC236}">
                <a16:creationId xmlns:a16="http://schemas.microsoft.com/office/drawing/2014/main" id="{CC33239B-E934-0044-87D2-0E3B33B54524}"/>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495505" y="4194496"/>
            <a:ext cx="1630513" cy="452520"/>
          </a:xfrm>
          <a:prstGeom prst="rect">
            <a:avLst/>
          </a:prstGeom>
        </p:spPr>
      </p:pic>
      <p:pic>
        <p:nvPicPr>
          <p:cNvPr id="6" name="Grafikk 5">
            <a:extLst>
              <a:ext uri="{FF2B5EF4-FFF2-40B4-BE49-F238E27FC236}">
                <a16:creationId xmlns:a16="http://schemas.microsoft.com/office/drawing/2014/main" id="{5BAB1353-5126-BA42-B537-7AE60F34773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805996" y="3238064"/>
            <a:ext cx="1936434" cy="430319"/>
          </a:xfrm>
          <a:prstGeom prst="rect">
            <a:avLst/>
          </a:prstGeom>
        </p:spPr>
      </p:pic>
      <p:pic>
        <p:nvPicPr>
          <p:cNvPr id="43" name="Picture 42" descr="A picture containing drawing, plate&#10;&#10;Description automatically generated">
            <a:extLst>
              <a:ext uri="{FF2B5EF4-FFF2-40B4-BE49-F238E27FC236}">
                <a16:creationId xmlns:a16="http://schemas.microsoft.com/office/drawing/2014/main" id="{0211DAF9-E476-5D4F-B7C8-2D045D7A1743}"/>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067200" y="6137933"/>
            <a:ext cx="1363924" cy="532980"/>
          </a:xfrm>
          <a:prstGeom prst="rect">
            <a:avLst/>
          </a:prstGeom>
        </p:spPr>
      </p:pic>
      <p:pic>
        <p:nvPicPr>
          <p:cNvPr id="48" name="Picture 47" descr="A picture containing drawing&#10;&#10;Description automatically generated">
            <a:extLst>
              <a:ext uri="{FF2B5EF4-FFF2-40B4-BE49-F238E27FC236}">
                <a16:creationId xmlns:a16="http://schemas.microsoft.com/office/drawing/2014/main" id="{60107E15-C054-BC41-A06F-294775823BEF}"/>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89502" y="6201255"/>
            <a:ext cx="1623370" cy="572267"/>
          </a:xfrm>
          <a:prstGeom prst="rect">
            <a:avLst/>
          </a:prstGeom>
        </p:spPr>
      </p:pic>
      <p:pic>
        <p:nvPicPr>
          <p:cNvPr id="23" name="Bilde 22" descr="Et bilde som inneholder tekst, utklipp&#10;&#10;Automatisk generert beskrivelse">
            <a:extLst>
              <a:ext uri="{FF2B5EF4-FFF2-40B4-BE49-F238E27FC236}">
                <a16:creationId xmlns:a16="http://schemas.microsoft.com/office/drawing/2014/main" id="{96E49151-FBC7-A844-A85A-7596B9B5F60B}"/>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570070" y="3617707"/>
            <a:ext cx="1429017" cy="427849"/>
          </a:xfrm>
          <a:prstGeom prst="rect">
            <a:avLst/>
          </a:prstGeom>
        </p:spPr>
      </p:pic>
      <p:pic>
        <p:nvPicPr>
          <p:cNvPr id="46" name="Bilde 45" descr="Et bilde som inneholder tekst, utklipp&#10;&#10;Automatisk generert beskrivelse">
            <a:extLst>
              <a:ext uri="{FF2B5EF4-FFF2-40B4-BE49-F238E27FC236}">
                <a16:creationId xmlns:a16="http://schemas.microsoft.com/office/drawing/2014/main" id="{9AA9C42F-7513-374B-846E-91F71FC3E3CB}"/>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80296" y="3531225"/>
            <a:ext cx="1767228" cy="484351"/>
          </a:xfrm>
          <a:prstGeom prst="rect">
            <a:avLst/>
          </a:prstGeom>
        </p:spPr>
      </p:pic>
      <p:cxnSp>
        <p:nvCxnSpPr>
          <p:cNvPr id="49" name="Rett linje 48">
            <a:extLst>
              <a:ext uri="{FF2B5EF4-FFF2-40B4-BE49-F238E27FC236}">
                <a16:creationId xmlns:a16="http://schemas.microsoft.com/office/drawing/2014/main" id="{BC35B686-236C-B242-BA75-A0D8F42936E6}"/>
              </a:ext>
            </a:extLst>
          </p:cNvPr>
          <p:cNvCxnSpPr>
            <a:cxnSpLocks/>
          </p:cNvCxnSpPr>
          <p:nvPr/>
        </p:nvCxnSpPr>
        <p:spPr>
          <a:xfrm>
            <a:off x="8035394" y="1679927"/>
            <a:ext cx="0" cy="712421"/>
          </a:xfrm>
          <a:prstGeom prst="line">
            <a:avLst/>
          </a:prstGeom>
        </p:spPr>
        <p:style>
          <a:lnRef idx="1">
            <a:schemeClr val="dk1"/>
          </a:lnRef>
          <a:fillRef idx="0">
            <a:schemeClr val="dk1"/>
          </a:fillRef>
          <a:effectRef idx="0">
            <a:schemeClr val="dk1"/>
          </a:effectRef>
          <a:fontRef idx="minor">
            <a:schemeClr val="tx1"/>
          </a:fontRef>
        </p:style>
      </p:cxnSp>
      <p:pic>
        <p:nvPicPr>
          <p:cNvPr id="56" name="Bilde 55" descr="Et bilde som inneholder tekst, klokke, utklipp, måler&#10;&#10;Automatisk generert beskrivelse">
            <a:extLst>
              <a:ext uri="{FF2B5EF4-FFF2-40B4-BE49-F238E27FC236}">
                <a16:creationId xmlns:a16="http://schemas.microsoft.com/office/drawing/2014/main" id="{0199AF41-9C9C-F942-A215-0CA4CFF94B85}"/>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3759460" y="5065655"/>
            <a:ext cx="1665523" cy="590992"/>
          </a:xfrm>
          <a:prstGeom prst="rect">
            <a:avLst/>
          </a:prstGeom>
        </p:spPr>
      </p:pic>
      <p:pic>
        <p:nvPicPr>
          <p:cNvPr id="58" name="Bilde 57" descr="Et bilde som inneholder tekst&#10;&#10;Automatisk generert beskrivelse">
            <a:extLst>
              <a:ext uri="{FF2B5EF4-FFF2-40B4-BE49-F238E27FC236}">
                <a16:creationId xmlns:a16="http://schemas.microsoft.com/office/drawing/2014/main" id="{29642CCE-9D34-D943-BEAD-2393AE042457}"/>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7957686" y="2774632"/>
            <a:ext cx="1408557" cy="950925"/>
          </a:xfrm>
          <a:prstGeom prst="rect">
            <a:avLst/>
          </a:prstGeom>
        </p:spPr>
      </p:pic>
      <p:pic>
        <p:nvPicPr>
          <p:cNvPr id="64" name="Bilde 63">
            <a:extLst>
              <a:ext uri="{FF2B5EF4-FFF2-40B4-BE49-F238E27FC236}">
                <a16:creationId xmlns:a16="http://schemas.microsoft.com/office/drawing/2014/main" id="{8E9BD986-11A8-9A42-8C36-C38FD67DC080}"/>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54995" y="2788625"/>
            <a:ext cx="1633355" cy="504544"/>
          </a:xfrm>
          <a:prstGeom prst="rect">
            <a:avLst/>
          </a:prstGeom>
        </p:spPr>
      </p:pic>
      <p:pic>
        <p:nvPicPr>
          <p:cNvPr id="66" name="Bilde 65" descr="Et bilde som inneholder tekst, utklipp&#10;&#10;Automatisk generert beskrivelse">
            <a:extLst>
              <a:ext uri="{FF2B5EF4-FFF2-40B4-BE49-F238E27FC236}">
                <a16:creationId xmlns:a16="http://schemas.microsoft.com/office/drawing/2014/main" id="{34A2A39F-3C93-044A-861D-D3FB4BD9148E}"/>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164004" y="4832587"/>
            <a:ext cx="1476479" cy="593986"/>
          </a:xfrm>
          <a:prstGeom prst="rect">
            <a:avLst/>
          </a:prstGeom>
        </p:spPr>
      </p:pic>
      <p:pic>
        <p:nvPicPr>
          <p:cNvPr id="18" name="Bilde 17" descr="Et bilde som inneholder tekst, utklipp&#10;&#10;Automatisk generert beskrivelse">
            <a:extLst>
              <a:ext uri="{FF2B5EF4-FFF2-40B4-BE49-F238E27FC236}">
                <a16:creationId xmlns:a16="http://schemas.microsoft.com/office/drawing/2014/main" id="{2528B6D6-F355-6F46-81F1-60F493795B80}"/>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291892" y="1761600"/>
            <a:ext cx="1962007" cy="716462"/>
          </a:xfrm>
          <a:prstGeom prst="rect">
            <a:avLst/>
          </a:prstGeom>
        </p:spPr>
      </p:pic>
      <p:pic>
        <p:nvPicPr>
          <p:cNvPr id="52" name="Bilde 51">
            <a:extLst>
              <a:ext uri="{FF2B5EF4-FFF2-40B4-BE49-F238E27FC236}">
                <a16:creationId xmlns:a16="http://schemas.microsoft.com/office/drawing/2014/main" id="{76AF8ED5-7DB2-934C-9DB0-0DC3F2ED9040}"/>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5476407" y="6155171"/>
            <a:ext cx="1844563" cy="558639"/>
          </a:xfrm>
          <a:prstGeom prst="rect">
            <a:avLst/>
          </a:prstGeom>
        </p:spPr>
      </p:pic>
      <p:pic>
        <p:nvPicPr>
          <p:cNvPr id="9" name="Bilde 8">
            <a:extLst>
              <a:ext uri="{FF2B5EF4-FFF2-40B4-BE49-F238E27FC236}">
                <a16:creationId xmlns:a16="http://schemas.microsoft.com/office/drawing/2014/main" id="{DE83E103-67E3-6741-878A-6C3EDC9FCD1A}"/>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1839145" y="4364984"/>
            <a:ext cx="1800192" cy="984480"/>
          </a:xfrm>
          <a:prstGeom prst="rect">
            <a:avLst/>
          </a:prstGeom>
        </p:spPr>
      </p:pic>
      <p:pic>
        <p:nvPicPr>
          <p:cNvPr id="10" name="Bilde 9">
            <a:extLst>
              <a:ext uri="{FF2B5EF4-FFF2-40B4-BE49-F238E27FC236}">
                <a16:creationId xmlns:a16="http://schemas.microsoft.com/office/drawing/2014/main" id="{AAC7B7CE-A6BB-8350-8AE7-B73FA5173DA4}"/>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083020" y="1806138"/>
            <a:ext cx="2260547" cy="632415"/>
          </a:xfrm>
          <a:prstGeom prst="rect">
            <a:avLst/>
          </a:prstGeom>
        </p:spPr>
      </p:pic>
      <p:pic>
        <p:nvPicPr>
          <p:cNvPr id="12" name="Bilde 11">
            <a:extLst>
              <a:ext uri="{FF2B5EF4-FFF2-40B4-BE49-F238E27FC236}">
                <a16:creationId xmlns:a16="http://schemas.microsoft.com/office/drawing/2014/main" id="{CC1DAB3B-1F4F-ECFB-E4EA-20A2918BE6D8}"/>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164894" y="1591948"/>
            <a:ext cx="1674251" cy="888378"/>
          </a:xfrm>
          <a:prstGeom prst="rect">
            <a:avLst/>
          </a:prstGeom>
        </p:spPr>
      </p:pic>
      <p:pic>
        <p:nvPicPr>
          <p:cNvPr id="34" name="Bilde 33">
            <a:extLst>
              <a:ext uri="{FF2B5EF4-FFF2-40B4-BE49-F238E27FC236}">
                <a16:creationId xmlns:a16="http://schemas.microsoft.com/office/drawing/2014/main" id="{C69561AA-5876-5EBF-6FEE-AEA92AD6A983}"/>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3769368" y="2658643"/>
            <a:ext cx="2044014" cy="796170"/>
          </a:xfrm>
          <a:prstGeom prst="rect">
            <a:avLst/>
          </a:prstGeom>
        </p:spPr>
      </p:pic>
      <p:pic>
        <p:nvPicPr>
          <p:cNvPr id="51" name="Bilde 50" descr="Et bilde som inneholder tekst, utklipp&#10;&#10;Automatisk generert beskrivelse">
            <a:extLst>
              <a:ext uri="{FF2B5EF4-FFF2-40B4-BE49-F238E27FC236}">
                <a16:creationId xmlns:a16="http://schemas.microsoft.com/office/drawing/2014/main" id="{EC4FDD27-7956-AE05-DBCF-70B3826C7B5B}"/>
              </a:ext>
            </a:extLst>
          </p:cNvPr>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7793267" y="4014881"/>
            <a:ext cx="1409700" cy="469900"/>
          </a:xfrm>
          <a:prstGeom prst="rect">
            <a:avLst/>
          </a:prstGeom>
        </p:spPr>
      </p:pic>
      <p:pic>
        <p:nvPicPr>
          <p:cNvPr id="54" name="Bilde 53">
            <a:extLst>
              <a:ext uri="{FF2B5EF4-FFF2-40B4-BE49-F238E27FC236}">
                <a16:creationId xmlns:a16="http://schemas.microsoft.com/office/drawing/2014/main" id="{CAC9A3A5-6C01-D95A-CEB8-B6F89B43BEEF}"/>
              </a:ext>
            </a:extLst>
          </p:cNvPr>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5409081" y="4965071"/>
            <a:ext cx="2303529" cy="609454"/>
          </a:xfrm>
          <a:prstGeom prst="rect">
            <a:avLst/>
          </a:prstGeom>
        </p:spPr>
      </p:pic>
      <p:pic>
        <p:nvPicPr>
          <p:cNvPr id="61" name="Bilde 60">
            <a:extLst>
              <a:ext uri="{FF2B5EF4-FFF2-40B4-BE49-F238E27FC236}">
                <a16:creationId xmlns:a16="http://schemas.microsoft.com/office/drawing/2014/main" id="{376855D8-B0AC-E1ED-A416-E089D12F16D0}"/>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7748444" y="4420264"/>
            <a:ext cx="1676400" cy="838200"/>
          </a:xfrm>
          <a:prstGeom prst="rect">
            <a:avLst/>
          </a:prstGeom>
        </p:spPr>
      </p:pic>
      <p:pic>
        <p:nvPicPr>
          <p:cNvPr id="65" name="Bilde 64">
            <a:extLst>
              <a:ext uri="{FF2B5EF4-FFF2-40B4-BE49-F238E27FC236}">
                <a16:creationId xmlns:a16="http://schemas.microsoft.com/office/drawing/2014/main" id="{873F2111-E3F6-19E4-4CB6-5B9E1796692B}"/>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7558059" y="5300094"/>
            <a:ext cx="1748417" cy="752682"/>
          </a:xfrm>
          <a:prstGeom prst="rect">
            <a:avLst/>
          </a:prstGeom>
        </p:spPr>
      </p:pic>
      <p:pic>
        <p:nvPicPr>
          <p:cNvPr id="68" name="Bilde 67">
            <a:extLst>
              <a:ext uri="{FF2B5EF4-FFF2-40B4-BE49-F238E27FC236}">
                <a16:creationId xmlns:a16="http://schemas.microsoft.com/office/drawing/2014/main" id="{E62A26ED-DD5B-5097-272A-4C1BDFC82C45}"/>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5797049" y="2737914"/>
            <a:ext cx="1915562" cy="741140"/>
          </a:xfrm>
          <a:prstGeom prst="rect">
            <a:avLst/>
          </a:prstGeom>
        </p:spPr>
      </p:pic>
      <p:pic>
        <p:nvPicPr>
          <p:cNvPr id="70" name="Bilde 69">
            <a:extLst>
              <a:ext uri="{FF2B5EF4-FFF2-40B4-BE49-F238E27FC236}">
                <a16:creationId xmlns:a16="http://schemas.microsoft.com/office/drawing/2014/main" id="{D33E5FB9-1830-8690-848F-250A840C52A2}"/>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4686720" y="1596460"/>
            <a:ext cx="1257300" cy="939800"/>
          </a:xfrm>
          <a:prstGeom prst="rect">
            <a:avLst/>
          </a:prstGeom>
        </p:spPr>
      </p:pic>
      <p:pic>
        <p:nvPicPr>
          <p:cNvPr id="14" name="Bilde 13" descr="Et bilde som inneholder tekst, utklipp&#10;&#10;Automatisk generert beskrivelse">
            <a:extLst>
              <a:ext uri="{FF2B5EF4-FFF2-40B4-BE49-F238E27FC236}">
                <a16:creationId xmlns:a16="http://schemas.microsoft.com/office/drawing/2014/main" id="{5DF3B0A1-3ED1-DC79-1CB4-23630487A11E}"/>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5794155" y="3428687"/>
            <a:ext cx="1930616" cy="709443"/>
          </a:xfrm>
          <a:prstGeom prst="rect">
            <a:avLst/>
          </a:prstGeom>
        </p:spPr>
      </p:pic>
      <p:pic>
        <p:nvPicPr>
          <p:cNvPr id="20" name="Bilde 19">
            <a:extLst>
              <a:ext uri="{FF2B5EF4-FFF2-40B4-BE49-F238E27FC236}">
                <a16:creationId xmlns:a16="http://schemas.microsoft.com/office/drawing/2014/main" id="{A1648833-5589-94EE-A5E9-092552E1F7D3}"/>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310405" y="4115207"/>
            <a:ext cx="1259078" cy="708995"/>
          </a:xfrm>
          <a:prstGeom prst="rect">
            <a:avLst/>
          </a:prstGeom>
        </p:spPr>
      </p:pic>
    </p:spTree>
    <p:extLst>
      <p:ext uri="{BB962C8B-B14F-4D97-AF65-F5344CB8AC3E}">
        <p14:creationId xmlns:p14="http://schemas.microsoft.com/office/powerpoint/2010/main" val="3781307687"/>
      </p:ext>
    </p:extLst>
  </p:cSld>
  <p:clrMapOvr>
    <a:masterClrMapping/>
  </p:clrMapOvr>
  <mc:AlternateContent xmlns:mc="http://schemas.openxmlformats.org/markup-compatibility/2006" xmlns:p14="http://schemas.microsoft.com/office/powerpoint/2010/main">
    <mc:Choice Requires="p14">
      <p:transition spd="slow" p14:dur="1250">
        <p14:prism/>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14"/>
</p:tagLst>
</file>

<file path=ppt/tags/tag10.xml><?xml version="1.0" encoding="utf-8"?>
<p:tagLst xmlns:a="http://schemas.openxmlformats.org/drawingml/2006/main" xmlns:r="http://schemas.openxmlformats.org/officeDocument/2006/relationships" xmlns:p="http://schemas.openxmlformats.org/presentationml/2006/main">
  <p:tag name="EE4P_MAPWIZARD_ID" val="BS"/>
  <p:tag name="EE4P_MAPWIZARD_HEADINGS" val="Admin 0\Continent\UN Region\UN Sub Region"/>
  <p:tag name="EE4P_MAPWIZARD" val="The Bahamas\North America\Americas\Caribbean"/>
</p:tagLst>
</file>

<file path=ppt/tags/tag100.xml><?xml version="1.0" encoding="utf-8"?>
<p:tagLst xmlns:a="http://schemas.openxmlformats.org/drawingml/2006/main" xmlns:r="http://schemas.openxmlformats.org/officeDocument/2006/relationships" xmlns:p="http://schemas.openxmlformats.org/presentationml/2006/main">
  <p:tag name="EE4P_MAPWIZARD_ID" val="KG"/>
  <p:tag name="EE4P_MAPWIZARD_HEADINGS" val="Admin 0\Continent\UN Region\UN Sub Region"/>
  <p:tag name="EE4P_MAPWIZARD" val="Kyrgyzstan\Asia\Asia\Central Asia"/>
</p:tagLst>
</file>

<file path=ppt/tags/tag101.xml><?xml version="1.0" encoding="utf-8"?>
<p:tagLst xmlns:a="http://schemas.openxmlformats.org/drawingml/2006/main" xmlns:r="http://schemas.openxmlformats.org/officeDocument/2006/relationships" xmlns:p="http://schemas.openxmlformats.org/presentationml/2006/main">
  <p:tag name="EE4P_MAPWIZARD_ID" val="KH"/>
  <p:tag name="EE4P_MAPWIZARD_HEADINGS" val="Admin 0\Continent\UN Region\UN Sub Region"/>
  <p:tag name="EE4P_MAPWIZARD" val="Cambodia\Asia\Asia\South-Eastern Asia"/>
</p:tagLst>
</file>

<file path=ppt/tags/tag102.xml><?xml version="1.0" encoding="utf-8"?>
<p:tagLst xmlns:a="http://schemas.openxmlformats.org/drawingml/2006/main" xmlns:r="http://schemas.openxmlformats.org/officeDocument/2006/relationships" xmlns:p="http://schemas.openxmlformats.org/presentationml/2006/main">
  <p:tag name="EE4P_MAPWIZARD_ID" val="KR"/>
  <p:tag name="EE4P_MAPWIZARD_HEADINGS" val="Admin 0\Continent\UN Region\UN Sub Region"/>
  <p:tag name="EE4P_MAPWIZARD" val="South Korea\Asia\Asia\Eastern Asia"/>
</p:tagLst>
</file>

<file path=ppt/tags/tag103.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
  <p:tag name="EE4P_MAPWIZARD" val="Kosovo\Europe\Europe\Southern Europe"/>
</p:tagLst>
</file>

<file path=ppt/tags/tag104.xml><?xml version="1.0" encoding="utf-8"?>
<p:tagLst xmlns:a="http://schemas.openxmlformats.org/drawingml/2006/main" xmlns:r="http://schemas.openxmlformats.org/officeDocument/2006/relationships" xmlns:p="http://schemas.openxmlformats.org/presentationml/2006/main">
  <p:tag name="EE4P_MAPWIZARD_ID" val="KW"/>
  <p:tag name="EE4P_MAPWIZARD_HEADINGS" val="Admin 0\Continent\UN Region\UN Sub Region"/>
  <p:tag name="EE4P_MAPWIZARD" val="Kuwait\Asia\Asia\Western Asia"/>
</p:tagLst>
</file>

<file path=ppt/tags/tag105.xml><?xml version="1.0" encoding="utf-8"?>
<p:tagLst xmlns:a="http://schemas.openxmlformats.org/drawingml/2006/main" xmlns:r="http://schemas.openxmlformats.org/officeDocument/2006/relationships" xmlns:p="http://schemas.openxmlformats.org/presentationml/2006/main">
  <p:tag name="EE4P_MAPWIZARD_ID" val="LA"/>
  <p:tag name="EE4P_MAPWIZARD_HEADINGS" val="Admin 0\Continent\UN Region\UN Sub Region"/>
  <p:tag name="EE4P_MAPWIZARD" val="Laos\Asia\Asia\South-Eastern Asia"/>
</p:tagLst>
</file>

<file path=ppt/tags/tag106.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0\Continent\UN Region\UN Sub Region"/>
  <p:tag name="EE4P_MAPWIZARD" val="Lebanon\Asia\Asia\Western Asia"/>
</p:tagLst>
</file>

<file path=ppt/tags/tag107.xml><?xml version="1.0" encoding="utf-8"?>
<p:tagLst xmlns:a="http://schemas.openxmlformats.org/drawingml/2006/main" xmlns:r="http://schemas.openxmlformats.org/officeDocument/2006/relationships" xmlns:p="http://schemas.openxmlformats.org/presentationml/2006/main">
  <p:tag name="EE4P_MAPWIZARD_ID" val="LR"/>
  <p:tag name="EE4P_MAPWIZARD_HEADINGS" val="Admin 0\Continent\UN Region\UN Sub Region"/>
  <p:tag name="EE4P_MAPWIZARD" val="Liberia\Africa\Africa\Western Africa"/>
</p:tagLst>
</file>

<file path=ppt/tags/tag108.xml><?xml version="1.0" encoding="utf-8"?>
<p:tagLst xmlns:a="http://schemas.openxmlformats.org/drawingml/2006/main" xmlns:r="http://schemas.openxmlformats.org/officeDocument/2006/relationships" xmlns:p="http://schemas.openxmlformats.org/presentationml/2006/main">
  <p:tag name="EE4P_MAPWIZARD_ID" val="LY"/>
  <p:tag name="EE4P_MAPWIZARD_HEADINGS" val="Admin 0\Continent\UN Region\UN Sub Region"/>
  <p:tag name="EE4P_MAPWIZARD" val="Libya\Africa\Africa\Northern Africa"/>
</p:tagLst>
</file>

<file path=ppt/tags/tag109.xml><?xml version="1.0" encoding="utf-8"?>
<p:tagLst xmlns:a="http://schemas.openxmlformats.org/drawingml/2006/main" xmlns:r="http://schemas.openxmlformats.org/officeDocument/2006/relationships" xmlns:p="http://schemas.openxmlformats.org/presentationml/2006/main">
  <p:tag name="EE4P_MAPWIZARD_ID" val="LK"/>
  <p:tag name="EE4P_MAPWIZARD_HEADINGS" val="Admin 0\Continent\UN Region\UN Sub Region"/>
  <p:tag name="EE4P_MAPWIZARD" val="Sri Lanka\Asia\Asia\Southern Asia"/>
</p:tagLst>
</file>

<file path=ppt/tags/tag11.xml><?xml version="1.0" encoding="utf-8"?>
<p:tagLst xmlns:a="http://schemas.openxmlformats.org/drawingml/2006/main" xmlns:r="http://schemas.openxmlformats.org/officeDocument/2006/relationships" xmlns:p="http://schemas.openxmlformats.org/presentationml/2006/main">
  <p:tag name="EE4P_MAPWIZARD_ID" val="BZ"/>
  <p:tag name="EE4P_MAPWIZARD_HEADINGS" val="Admin 0\Continent\UN Region\UN Sub Region"/>
  <p:tag name="EE4P_MAPWIZARD" val="Belize\North America\Americas\Central America"/>
</p:tagLst>
</file>

<file path=ppt/tags/tag110.xml><?xml version="1.0" encoding="utf-8"?>
<p:tagLst xmlns:a="http://schemas.openxmlformats.org/drawingml/2006/main" xmlns:r="http://schemas.openxmlformats.org/officeDocument/2006/relationships" xmlns:p="http://schemas.openxmlformats.org/presentationml/2006/main">
  <p:tag name="EE4P_MAPWIZARD_ID" val="LS"/>
  <p:tag name="EE4P_MAPWIZARD_HEADINGS" val="Admin 0\Continent\UN Region\UN Sub Region"/>
  <p:tag name="EE4P_MAPWIZARD" val="Lesotho\Africa\Africa\Southern Africa"/>
</p:tagLst>
</file>

<file path=ppt/tags/tag111.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
  <p:tag name="EE4P_MAPWIZARD" val="Lithuania\Europe\Europe\Northern Europe"/>
</p:tagLst>
</file>

<file path=ppt/tags/tag112.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
  <p:tag name="EE4P_MAPWIZARD" val="Luxembourg\Europe\Europe\Western Europe"/>
</p:tagLst>
</file>

<file path=ppt/tags/tag113.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
  <p:tag name="EE4P_MAPWIZARD" val="Latvia\Europe\Europe\Northern Europe"/>
</p:tagLst>
</file>

<file path=ppt/tags/tag114.xml><?xml version="1.0" encoding="utf-8"?>
<p:tagLst xmlns:a="http://schemas.openxmlformats.org/drawingml/2006/main" xmlns:r="http://schemas.openxmlformats.org/officeDocument/2006/relationships" xmlns:p="http://schemas.openxmlformats.org/presentationml/2006/main">
  <p:tag name="EE4P_MAPWIZARD_ID" val="MA"/>
  <p:tag name="EE4P_MAPWIZARD_HEADINGS" val="Admin 0\Continent\UN Region\UN Sub Region"/>
  <p:tag name="EE4P_MAPWIZARD" val="Morocco\Africa\Africa\Northern Africa"/>
</p:tagLst>
</file>

<file path=ppt/tags/tag115.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
  <p:tag name="EE4P_MAPWIZARD" val="Moldova\Europe\Europe\Eastern Europe"/>
</p:tagLst>
</file>

<file path=ppt/tags/tag116.xml><?xml version="1.0" encoding="utf-8"?>
<p:tagLst xmlns:a="http://schemas.openxmlformats.org/drawingml/2006/main" xmlns:r="http://schemas.openxmlformats.org/officeDocument/2006/relationships" xmlns:p="http://schemas.openxmlformats.org/presentationml/2006/main">
  <p:tag name="EE4P_MAPWIZARD_ID" val="MG"/>
  <p:tag name="EE4P_MAPWIZARD_HEADINGS" val="Admin 0\Continent\UN Region\UN Sub Region"/>
  <p:tag name="EE4P_MAPWIZARD" val="Madagascar\Africa\Africa\Eastern Africa"/>
</p:tagLst>
</file>

<file path=ppt/tags/tag117.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
  <p:tag name="EE4P_MAPWIZARD" val="Macedonia\Europe\Europe\Southern Europe"/>
</p:tagLst>
</file>

<file path=ppt/tags/tag118.xml><?xml version="1.0" encoding="utf-8"?>
<p:tagLst xmlns:a="http://schemas.openxmlformats.org/drawingml/2006/main" xmlns:r="http://schemas.openxmlformats.org/officeDocument/2006/relationships" xmlns:p="http://schemas.openxmlformats.org/presentationml/2006/main">
  <p:tag name="EE4P_MAPWIZARD_ID" val="ML"/>
  <p:tag name="EE4P_MAPWIZARD_HEADINGS" val="Admin 0\Continent\UN Region\UN Sub Region"/>
  <p:tag name="EE4P_MAPWIZARD" val="Mali\Africa\Africa\Western Africa"/>
</p:tagLst>
</file>

<file path=ppt/tags/tag119.xml><?xml version="1.0" encoding="utf-8"?>
<p:tagLst xmlns:a="http://schemas.openxmlformats.org/drawingml/2006/main" xmlns:r="http://schemas.openxmlformats.org/officeDocument/2006/relationships" xmlns:p="http://schemas.openxmlformats.org/presentationml/2006/main">
  <p:tag name="EE4P_MAPWIZARD_ID" val="MM"/>
  <p:tag name="EE4P_MAPWIZARD_HEADINGS" val="Admin 0\Continent\UN Region\UN Sub Region"/>
  <p:tag name="EE4P_MAPWIZARD" val="Myanmar\Asia\Asia\South-Eastern Asia"/>
</p:tagLst>
</file>

<file path=ppt/tags/tag12.xml><?xml version="1.0" encoding="utf-8"?>
<p:tagLst xmlns:a="http://schemas.openxmlformats.org/drawingml/2006/main" xmlns:r="http://schemas.openxmlformats.org/officeDocument/2006/relationships" xmlns:p="http://schemas.openxmlformats.org/presentationml/2006/main">
  <p:tag name="EE4P_MAPWIZARD_ID" val="BO"/>
  <p:tag name="EE4P_MAPWIZARD_HEADINGS" val="Admin 0\Continent\UN Region\UN Sub Region"/>
  <p:tag name="EE4P_MAPWIZARD" val="Bolivia\South America\Americas\South America"/>
</p:tagLst>
</file>

<file path=ppt/tags/tag120.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
  <p:tag name="EE4P_MAPWIZARD" val="Montenegro\Europe\Europe\Southern Europe"/>
</p:tagLst>
</file>

<file path=ppt/tags/tag121.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0\Continent\UN Region\UN Sub Region"/>
  <p:tag name="EE4P_MAPWIZARD" val="Mongolia\Asia\Asia\Eastern Asia"/>
</p:tagLst>
</file>

<file path=ppt/tags/tag122.xml><?xml version="1.0" encoding="utf-8"?>
<p:tagLst xmlns:a="http://schemas.openxmlformats.org/drawingml/2006/main" xmlns:r="http://schemas.openxmlformats.org/officeDocument/2006/relationships" xmlns:p="http://schemas.openxmlformats.org/presentationml/2006/main">
  <p:tag name="EE4P_MAPWIZARD_ID" val="MZ"/>
  <p:tag name="EE4P_MAPWIZARD_HEADINGS" val="Admin 0\Continent\UN Region\UN Sub Region"/>
  <p:tag name="EE4P_MAPWIZARD" val="Mozambique\Africa\Africa\Eastern Africa"/>
</p:tagLst>
</file>

<file path=ppt/tags/tag123.xml><?xml version="1.0" encoding="utf-8"?>
<p:tagLst xmlns:a="http://schemas.openxmlformats.org/drawingml/2006/main" xmlns:r="http://schemas.openxmlformats.org/officeDocument/2006/relationships" xmlns:p="http://schemas.openxmlformats.org/presentationml/2006/main">
  <p:tag name="EE4P_MAPWIZARD_ID" val="MR"/>
  <p:tag name="EE4P_MAPWIZARD_HEADINGS" val="Admin 0\Continent\UN Region\UN Sub Region"/>
  <p:tag name="EE4P_MAPWIZARD" val="Mauritania\Africa\Africa\Western Africa"/>
</p:tagLst>
</file>

<file path=ppt/tags/tag124.xml><?xml version="1.0" encoding="utf-8"?>
<p:tagLst xmlns:a="http://schemas.openxmlformats.org/drawingml/2006/main" xmlns:r="http://schemas.openxmlformats.org/officeDocument/2006/relationships" xmlns:p="http://schemas.openxmlformats.org/presentationml/2006/main">
  <p:tag name="EE4P_MAPWIZARD_ID" val="MW"/>
  <p:tag name="EE4P_MAPWIZARD_HEADINGS" val="Admin 0\Continent\UN Region\UN Sub Region"/>
  <p:tag name="EE4P_MAPWIZARD" val="Malawi\Africa\Africa\Eastern Africa"/>
</p:tagLst>
</file>

<file path=ppt/tags/tag125.xml><?xml version="1.0" encoding="utf-8"?>
<p:tagLst xmlns:a="http://schemas.openxmlformats.org/drawingml/2006/main" xmlns:r="http://schemas.openxmlformats.org/officeDocument/2006/relationships" xmlns:p="http://schemas.openxmlformats.org/presentationml/2006/main">
  <p:tag name="EE4P_MAPWIZARD_ID" val="MY"/>
  <p:tag name="EE4P_MAPWIZARD_HEADINGS" val="Admin 0\Continent\UN Region\UN Sub Region"/>
  <p:tag name="EE4P_MAPWIZARD" val="Malaysia\Asia\Asia\South-Eastern Asia"/>
</p:tagLst>
</file>

<file path=ppt/tags/tag126.xml><?xml version="1.0" encoding="utf-8"?>
<p:tagLst xmlns:a="http://schemas.openxmlformats.org/drawingml/2006/main" xmlns:r="http://schemas.openxmlformats.org/officeDocument/2006/relationships" xmlns:p="http://schemas.openxmlformats.org/presentationml/2006/main">
  <p:tag name="EE4P_MAPWIZARD_ID" val="NA"/>
  <p:tag name="EE4P_MAPWIZARD_HEADINGS" val="Admin 0\Continent\UN Region\UN Sub Region"/>
  <p:tag name="EE4P_MAPWIZARD" val="Namibia\Africa\Africa\Southern Africa"/>
</p:tagLst>
</file>

<file path=ppt/tags/tag127.xml><?xml version="1.0" encoding="utf-8"?>
<p:tagLst xmlns:a="http://schemas.openxmlformats.org/drawingml/2006/main" xmlns:r="http://schemas.openxmlformats.org/officeDocument/2006/relationships" xmlns:p="http://schemas.openxmlformats.org/presentationml/2006/main">
  <p:tag name="EE4P_MAPWIZARD_ID" val="NE"/>
  <p:tag name="EE4P_MAPWIZARD_HEADINGS" val="Admin 0\Continent\UN Region\UN Sub Region"/>
  <p:tag name="EE4P_MAPWIZARD" val="Niger\Africa\Africa\Western Africa"/>
</p:tagLst>
</file>

<file path=ppt/tags/tag128.xml><?xml version="1.0" encoding="utf-8"?>
<p:tagLst xmlns:a="http://schemas.openxmlformats.org/drawingml/2006/main" xmlns:r="http://schemas.openxmlformats.org/officeDocument/2006/relationships" xmlns:p="http://schemas.openxmlformats.org/presentationml/2006/main">
  <p:tag name="EE4P_MAPWIZARD_ID" val="NG"/>
  <p:tag name="EE4P_MAPWIZARD_HEADINGS" val="Admin 0\Continent\UN Region\UN Sub Region"/>
  <p:tag name="EE4P_MAPWIZARD" val="Nigeria\Africa\Africa\Western Africa"/>
</p:tagLst>
</file>

<file path=ppt/tags/tag129.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
  <p:tag name="EE4P_MAPWIZARD" val="Netherlands\Europe\Europe\Western Europe"/>
</p:tagLst>
</file>

<file path=ppt/tags/tag13.xml><?xml version="1.0" encoding="utf-8"?>
<p:tagLst xmlns:a="http://schemas.openxmlformats.org/drawingml/2006/main" xmlns:r="http://schemas.openxmlformats.org/officeDocument/2006/relationships" xmlns:p="http://schemas.openxmlformats.org/presentationml/2006/main">
  <p:tag name="EE4P_MAPWIZARD_ID" val="BR"/>
  <p:tag name="EE4P_MAPWIZARD_HEADINGS" val="Admin 0\Continent\UN Region\UN Sub Region"/>
  <p:tag name="EE4P_MAPWIZARD" val="Brazil\South America\Americas\South America"/>
</p:tagLst>
</file>

<file path=ppt/tags/tag130.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131.xml><?xml version="1.0" encoding="utf-8"?>
<p:tagLst xmlns:a="http://schemas.openxmlformats.org/drawingml/2006/main" xmlns:r="http://schemas.openxmlformats.org/officeDocument/2006/relationships" xmlns:p="http://schemas.openxmlformats.org/presentationml/2006/main">
  <p:tag name="EE4P_MAPWIZARD_ID" val="NP"/>
  <p:tag name="EE4P_MAPWIZARD_HEADINGS" val="Admin 0\Continent\UN Region\UN Sub Region"/>
  <p:tag name="EE4P_MAPWIZARD" val="Nepal\Asia\Asia\Southern Asia"/>
</p:tagLst>
</file>

<file path=ppt/tags/tag132.xml><?xml version="1.0" encoding="utf-8"?>
<p:tagLst xmlns:a="http://schemas.openxmlformats.org/drawingml/2006/main" xmlns:r="http://schemas.openxmlformats.org/officeDocument/2006/relationships" xmlns:p="http://schemas.openxmlformats.org/presentationml/2006/main">
  <p:tag name="EE4P_MAPWIZARD_ID" val="NZ"/>
  <p:tag name="EE4P_MAPWIZARD_HEADINGS" val="Admin 0\Continent\UN Region\UN Sub Region"/>
  <p:tag name="EE4P_MAPWIZARD" val="New Zealand\Oceania\Oceania\Australia and New Zealand"/>
</p:tagLst>
</file>

<file path=ppt/tags/tag133.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0\Continent\UN Region\UN Sub Region"/>
  <p:tag name="EE4P_MAPWIZARD" val="Oman\Asia\Asia\Western Asia"/>
</p:tagLst>
</file>

<file path=ppt/tags/tag134.xml><?xml version="1.0" encoding="utf-8"?>
<p:tagLst xmlns:a="http://schemas.openxmlformats.org/drawingml/2006/main" xmlns:r="http://schemas.openxmlformats.org/officeDocument/2006/relationships" xmlns:p="http://schemas.openxmlformats.org/presentationml/2006/main">
  <p:tag name="EE4P_MAPWIZARD_ID" val="PK"/>
  <p:tag name="EE4P_MAPWIZARD_HEADINGS" val="Admin 0\Continent\UN Region\UN Sub Region"/>
  <p:tag name="EE4P_MAPWIZARD" val="Pakistan\Asia\Asia\Southern Asia"/>
</p:tagLst>
</file>

<file path=ppt/tags/tag135.xml><?xml version="1.0" encoding="utf-8"?>
<p:tagLst xmlns:a="http://schemas.openxmlformats.org/drawingml/2006/main" xmlns:r="http://schemas.openxmlformats.org/officeDocument/2006/relationships" xmlns:p="http://schemas.openxmlformats.org/presentationml/2006/main">
  <p:tag name="EE4P_MAPWIZARD_ID" val="PH"/>
  <p:tag name="EE4P_MAPWIZARD_HEADINGS" val="Admin 0\Continent\UN Region\UN Sub Region"/>
  <p:tag name="EE4P_MAPWIZARD" val="Philippines\Asia\Asia\South-Eastern Asia"/>
</p:tagLst>
</file>

<file path=ppt/tags/tag136.xml><?xml version="1.0" encoding="utf-8"?>
<p:tagLst xmlns:a="http://schemas.openxmlformats.org/drawingml/2006/main" xmlns:r="http://schemas.openxmlformats.org/officeDocument/2006/relationships" xmlns:p="http://schemas.openxmlformats.org/presentationml/2006/main">
  <p:tag name="EE4P_MAPWIZARD_ID" val="PG"/>
  <p:tag name="EE4P_MAPWIZARD_HEADINGS" val="Admin 0\Continent\UN Region\UN Sub Region"/>
  <p:tag name="EE4P_MAPWIZARD" val="Papua New Guinea\Oceania\Oceania\Melanesia"/>
</p:tagLst>
</file>

<file path=ppt/tags/tag137.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
  <p:tag name="EE4P_MAPWIZARD" val="Poland\Europe\Europe\Eastern Europe"/>
</p:tagLst>
</file>

<file path=ppt/tags/tag138.xml><?xml version="1.0" encoding="utf-8"?>
<p:tagLst xmlns:a="http://schemas.openxmlformats.org/drawingml/2006/main" xmlns:r="http://schemas.openxmlformats.org/officeDocument/2006/relationships" xmlns:p="http://schemas.openxmlformats.org/presentationml/2006/main">
  <p:tag name="EE4P_MAPWIZARD_ID" val="KP"/>
  <p:tag name="EE4P_MAPWIZARD_HEADINGS" val="Admin 0\Continent\UN Region\UN Sub Region"/>
  <p:tag name="EE4P_MAPWIZARD" val="North Korea\Asia\Asia\Eastern Asia"/>
</p:tagLst>
</file>

<file path=ppt/tags/tag139.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14.xml><?xml version="1.0" encoding="utf-8"?>
<p:tagLst xmlns:a="http://schemas.openxmlformats.org/drawingml/2006/main" xmlns:r="http://schemas.openxmlformats.org/officeDocument/2006/relationships" xmlns:p="http://schemas.openxmlformats.org/presentationml/2006/main">
  <p:tag name="EE4P_MAPWIZARD_ID" val="CA"/>
  <p:tag name="EE4P_MAPWIZARD_HEADINGS" val="Admin 0\Continent\UN Region\UN Sub Region"/>
  <p:tag name="EE4P_MAPWIZARD" val="Canada\North America\Americas\Northern America"/>
</p:tagLst>
</file>

<file path=ppt/tags/tag140.xml><?xml version="1.0" encoding="utf-8"?>
<p:tagLst xmlns:a="http://schemas.openxmlformats.org/drawingml/2006/main" xmlns:r="http://schemas.openxmlformats.org/officeDocument/2006/relationships" xmlns:p="http://schemas.openxmlformats.org/presentationml/2006/main">
  <p:tag name="EE4P_MAPWIZARD_ID" val="QA"/>
  <p:tag name="EE4P_MAPWIZARD_HEADINGS" val="Admin 0\Continent\UN Region\UN Sub Region"/>
  <p:tag name="EE4P_MAPWIZARD" val="Qatar\Asia\Asia\Western Asia"/>
</p:tagLst>
</file>

<file path=ppt/tags/tag141.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
  <p:tag name="EE4P_MAPWIZARD" val="Romania\Europe\Europe\Eastern Europe"/>
</p:tagLst>
</file>

<file path=ppt/tags/tag142.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Continent\UN Region\UN Sub Region"/>
  <p:tag name="EE4P_MAPWIZARD" val="Russia\Europe\Europe\Eastern Europe"/>
</p:tagLst>
</file>

<file path=ppt/tags/tag143.xml><?xml version="1.0" encoding="utf-8"?>
<p:tagLst xmlns:a="http://schemas.openxmlformats.org/drawingml/2006/main" xmlns:r="http://schemas.openxmlformats.org/officeDocument/2006/relationships" xmlns:p="http://schemas.openxmlformats.org/presentationml/2006/main">
  <p:tag name="EE4P_MAPWIZARD_ID" val="RW"/>
  <p:tag name="EE4P_MAPWIZARD_HEADINGS" val="Admin 0\Continent\UN Region\UN Sub Region"/>
  <p:tag name="EE4P_MAPWIZARD" val="Rwanda\Africa\Africa\Eastern Africa"/>
</p:tagLst>
</file>

<file path=ppt/tags/tag144.xml><?xml version="1.0" encoding="utf-8"?>
<p:tagLst xmlns:a="http://schemas.openxmlformats.org/drawingml/2006/main" xmlns:r="http://schemas.openxmlformats.org/officeDocument/2006/relationships" xmlns:p="http://schemas.openxmlformats.org/presentationml/2006/main">
  <p:tag name="EE4P_MAPWIZARD_ID" val="EH"/>
  <p:tag name="EE4P_MAPWIZARD_HEADINGS" val="Admin 0\Continent\UN Region\UN Sub Region"/>
  <p:tag name="EE4P_MAPWIZARD" val="Western Sahara\Africa\Africa\Northern Africa"/>
</p:tagLst>
</file>

<file path=ppt/tags/tag145.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0\Continent\UN Region\UN Sub Region"/>
  <p:tag name="EE4P_MAPWIZARD" val="Saudi Arabia\Asia\Asia\Western Asia"/>
</p:tagLst>
</file>

<file path=ppt/tags/tag146.xml><?xml version="1.0" encoding="utf-8"?>
<p:tagLst xmlns:a="http://schemas.openxmlformats.org/drawingml/2006/main" xmlns:r="http://schemas.openxmlformats.org/officeDocument/2006/relationships" xmlns:p="http://schemas.openxmlformats.org/presentationml/2006/main">
  <p:tag name="EE4P_MAPWIZARD_ID" val="SD"/>
  <p:tag name="EE4P_MAPWIZARD_HEADINGS" val="Admin 0\Continent\UN Region\UN Sub Region"/>
  <p:tag name="EE4P_MAPWIZARD" val="Sudan\Africa\Africa\Northern Africa"/>
</p:tagLst>
</file>

<file path=ppt/tags/tag147.xml><?xml version="1.0" encoding="utf-8"?>
<p:tagLst xmlns:a="http://schemas.openxmlformats.org/drawingml/2006/main" xmlns:r="http://schemas.openxmlformats.org/officeDocument/2006/relationships" xmlns:p="http://schemas.openxmlformats.org/presentationml/2006/main">
  <p:tag name="EE4P_MAPWIZARD_ID" val="SS"/>
  <p:tag name="EE4P_MAPWIZARD_HEADINGS" val="Admin 0\Continent\UN Region\UN Sub Region"/>
  <p:tag name="EE4P_MAPWIZARD" val="South Sudan\Africa\Africa\Eastern Africa"/>
</p:tagLst>
</file>

<file path=ppt/tags/tag148.xml><?xml version="1.0" encoding="utf-8"?>
<p:tagLst xmlns:a="http://schemas.openxmlformats.org/drawingml/2006/main" xmlns:r="http://schemas.openxmlformats.org/officeDocument/2006/relationships" xmlns:p="http://schemas.openxmlformats.org/presentationml/2006/main">
  <p:tag name="EE4P_MAPWIZARD_ID" val="SN"/>
  <p:tag name="EE4P_MAPWIZARD_HEADINGS" val="Admin 0\Continent\UN Region\UN Sub Region"/>
  <p:tag name="EE4P_MAPWIZARD" val="Senegal\Africa\Africa\Western Africa"/>
</p:tagLst>
</file>

<file path=ppt/tags/tag149.xml><?xml version="1.0" encoding="utf-8"?>
<p:tagLst xmlns:a="http://schemas.openxmlformats.org/drawingml/2006/main" xmlns:r="http://schemas.openxmlformats.org/officeDocument/2006/relationships" xmlns:p="http://schemas.openxmlformats.org/presentationml/2006/main">
  <p:tag name="EE4P_MAPWIZARD_ID" val="SB"/>
  <p:tag name="EE4P_MAPWIZARD_HEADINGS" val="Admin 0\Continent\UN Region\UN Sub Region"/>
  <p:tag name="EE4P_MAPWIZARD" val="Solomon Islands\Oceania\Oceania\Melanesia"/>
</p:tagLst>
</file>

<file path=ppt/tags/tag15.xml><?xml version="1.0" encoding="utf-8"?>
<p:tagLst xmlns:a="http://schemas.openxmlformats.org/drawingml/2006/main" xmlns:r="http://schemas.openxmlformats.org/officeDocument/2006/relationships" xmlns:p="http://schemas.openxmlformats.org/presentationml/2006/main">
  <p:tag name="EE4P_MAPWIZARD_ID" val="CL"/>
  <p:tag name="EE4P_MAPWIZARD_HEADINGS" val="Admin 0\Continent\UN Region\UN Sub Region"/>
  <p:tag name="EE4P_MAPWIZARD" val="Chile\South America\Americas\South America"/>
</p:tagLst>
</file>

<file path=ppt/tags/tag150.xml><?xml version="1.0" encoding="utf-8"?>
<p:tagLst xmlns:a="http://schemas.openxmlformats.org/drawingml/2006/main" xmlns:r="http://schemas.openxmlformats.org/officeDocument/2006/relationships" xmlns:p="http://schemas.openxmlformats.org/presentationml/2006/main">
  <p:tag name="EE4P_MAPWIZARD_ID" val="SL"/>
  <p:tag name="EE4P_MAPWIZARD_HEADINGS" val="Admin 0\Continent\UN Region\UN Sub Region"/>
  <p:tag name="EE4P_MAPWIZARD" val="Sierra Leone\Africa\Africa\Western Africa"/>
</p:tagLst>
</file>

<file path=ppt/tags/tag151.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land\Africa\Africa\Eastern Africa"/>
</p:tagLst>
</file>

<file path=ppt/tags/tag152.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a\Africa\Africa\Eastern Africa"/>
</p:tagLst>
</file>

<file path=ppt/tags/tag153.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
  <p:tag name="EE4P_MAPWIZARD" val="Republic of Serbia\Europe\Europe\Southern Europe"/>
</p:tagLst>
</file>

<file path=ppt/tags/tag154.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
  <p:tag name="EE4P_MAPWIZARD" val="Slovakia\Europe\Europe\Eastern Europe"/>
</p:tagLst>
</file>

<file path=ppt/tags/tag155.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
  <p:tag name="EE4P_MAPWIZARD" val="Slovenia\Europe\Europe\Southern Europe"/>
</p:tagLst>
</file>

<file path=ppt/tags/tag156.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Continent\UN Region\UN Sub Region"/>
  <p:tag name="EE4P_MAPWIZARD" val="Sweden\Europe\Europe\Northern Europe"/>
</p:tagLst>
</file>

<file path=ppt/tags/tag157.xml><?xml version="1.0" encoding="utf-8"?>
<p:tagLst xmlns:a="http://schemas.openxmlformats.org/drawingml/2006/main" xmlns:r="http://schemas.openxmlformats.org/officeDocument/2006/relationships" xmlns:p="http://schemas.openxmlformats.org/presentationml/2006/main">
  <p:tag name="EE4P_MAPWIZARD_ID" val="SZ"/>
  <p:tag name="EE4P_MAPWIZARD_HEADINGS" val="Admin 0\Continent\UN Region\UN Sub Region"/>
  <p:tag name="EE4P_MAPWIZARD" val="Swaziland\Africa\Africa\Southern Africa"/>
</p:tagLst>
</file>

<file path=ppt/tags/tag158.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Continent\UN Region\UN Sub Region"/>
  <p:tag name="EE4P_MAPWIZARD" val="Syria\Asia\Asia\Western Asia"/>
</p:tagLst>
</file>

<file path=ppt/tags/tag159.xml><?xml version="1.0" encoding="utf-8"?>
<p:tagLst xmlns:a="http://schemas.openxmlformats.org/drawingml/2006/main" xmlns:r="http://schemas.openxmlformats.org/officeDocument/2006/relationships" xmlns:p="http://schemas.openxmlformats.org/presentationml/2006/main">
  <p:tag name="EE4P_MAPWIZARD_ID" val="TD"/>
  <p:tag name="EE4P_MAPWIZARD_HEADINGS" val="Admin 0\Continent\UN Region\UN Sub Region"/>
  <p:tag name="EE4P_MAPWIZARD" val="Chad\Africa\Africa\Middle Africa"/>
</p:tagLst>
</file>

<file path=ppt/tags/tag16.xml><?xml version="1.0" encoding="utf-8"?>
<p:tagLst xmlns:a="http://schemas.openxmlformats.org/drawingml/2006/main" xmlns:r="http://schemas.openxmlformats.org/officeDocument/2006/relationships" xmlns:p="http://schemas.openxmlformats.org/presentationml/2006/main">
  <p:tag name="EE4P_MAPWIZARD_ID" val="CO"/>
  <p:tag name="EE4P_MAPWIZARD_HEADINGS" val="Admin 0\Continent\UN Region\UN Sub Region"/>
  <p:tag name="EE4P_MAPWIZARD" val="Colombia\South America\Americas\South America"/>
</p:tagLst>
</file>

<file path=ppt/tags/tag160.xml><?xml version="1.0" encoding="utf-8"?>
<p:tagLst xmlns:a="http://schemas.openxmlformats.org/drawingml/2006/main" xmlns:r="http://schemas.openxmlformats.org/officeDocument/2006/relationships" xmlns:p="http://schemas.openxmlformats.org/presentationml/2006/main">
  <p:tag name="EE4P_MAPWIZARD_ID" val="TG"/>
  <p:tag name="EE4P_MAPWIZARD_HEADINGS" val="Admin 0\Continent\UN Region\UN Sub Region"/>
  <p:tag name="EE4P_MAPWIZARD" val="Togo\Africa\Africa\Western Africa"/>
</p:tagLst>
</file>

<file path=ppt/tags/tag161.xml><?xml version="1.0" encoding="utf-8"?>
<p:tagLst xmlns:a="http://schemas.openxmlformats.org/drawingml/2006/main" xmlns:r="http://schemas.openxmlformats.org/officeDocument/2006/relationships" xmlns:p="http://schemas.openxmlformats.org/presentationml/2006/main">
  <p:tag name="EE4P_MAPWIZARD_ID" val="TH"/>
  <p:tag name="EE4P_MAPWIZARD_HEADINGS" val="Admin 0\Continent\UN Region\UN Sub Region"/>
  <p:tag name="EE4P_MAPWIZARD" val="Thailand\Asia\Asia\South-Eastern Asia"/>
</p:tagLst>
</file>

<file path=ppt/tags/tag162.xml><?xml version="1.0" encoding="utf-8"?>
<p:tagLst xmlns:a="http://schemas.openxmlformats.org/drawingml/2006/main" xmlns:r="http://schemas.openxmlformats.org/officeDocument/2006/relationships" xmlns:p="http://schemas.openxmlformats.org/presentationml/2006/main">
  <p:tag name="EE4P_MAPWIZARD_ID" val="TJ"/>
  <p:tag name="EE4P_MAPWIZARD_HEADINGS" val="Admin 0\Continent\UN Region\UN Sub Region"/>
  <p:tag name="EE4P_MAPWIZARD" val="Tajikistan\Asia\Asia\Central Asia"/>
</p:tagLst>
</file>

<file path=ppt/tags/tag163.xml><?xml version="1.0" encoding="utf-8"?>
<p:tagLst xmlns:a="http://schemas.openxmlformats.org/drawingml/2006/main" xmlns:r="http://schemas.openxmlformats.org/officeDocument/2006/relationships" xmlns:p="http://schemas.openxmlformats.org/presentationml/2006/main">
  <p:tag name="EE4P_MAPWIZARD_ID" val="TM"/>
  <p:tag name="EE4P_MAPWIZARD_HEADINGS" val="Admin 0\Continent\UN Region\UN Sub Region"/>
  <p:tag name="EE4P_MAPWIZARD" val="Turkmenistan\Asia\Asia\Central Asia"/>
</p:tagLst>
</file>

<file path=ppt/tags/tag164.xml><?xml version="1.0" encoding="utf-8"?>
<p:tagLst xmlns:a="http://schemas.openxmlformats.org/drawingml/2006/main" xmlns:r="http://schemas.openxmlformats.org/officeDocument/2006/relationships" xmlns:p="http://schemas.openxmlformats.org/presentationml/2006/main">
  <p:tag name="EE4P_MAPWIZARD_ID" val="TL"/>
  <p:tag name="EE4P_MAPWIZARD_HEADINGS" val="Admin 0\Continent\UN Region\UN Sub Region"/>
  <p:tag name="EE4P_MAPWIZARD" val="East Timor\Asia\Asia\South-Eastern Asia"/>
</p:tagLst>
</file>

<file path=ppt/tags/tag165.xml><?xml version="1.0" encoding="utf-8"?>
<p:tagLst xmlns:a="http://schemas.openxmlformats.org/drawingml/2006/main" xmlns:r="http://schemas.openxmlformats.org/officeDocument/2006/relationships" xmlns:p="http://schemas.openxmlformats.org/presentationml/2006/main">
  <p:tag name="EE4P_MAPWIZARD_ID" val="TN"/>
  <p:tag name="EE4P_MAPWIZARD_HEADINGS" val="Admin 0\Continent\UN Region\UN Sub Region"/>
  <p:tag name="EE4P_MAPWIZARD" val="Tunisia\Africa\Africa\Northern Africa"/>
</p:tagLst>
</file>

<file path=ppt/tags/tag166.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Continent\UN Region\UN Sub Region"/>
  <p:tag name="EE4P_MAPWIZARD" val="Turkey\Asia\Asia\Western Asia"/>
</p:tagLst>
</file>

<file path=ppt/tags/tag167.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0\Continent\UN Region\UN Sub Region"/>
  <p:tag name="EE4P_MAPWIZARD" val="Taiwan\Asia\Asia\Eastern Asia"/>
</p:tagLst>
</file>

<file path=ppt/tags/tag168.xml><?xml version="1.0" encoding="utf-8"?>
<p:tagLst xmlns:a="http://schemas.openxmlformats.org/drawingml/2006/main" xmlns:r="http://schemas.openxmlformats.org/officeDocument/2006/relationships" xmlns:p="http://schemas.openxmlformats.org/presentationml/2006/main">
  <p:tag name="EE4P_MAPWIZARD_ID" val="TZ"/>
  <p:tag name="EE4P_MAPWIZARD_HEADINGS" val="Admin 0\Continent\UN Region\UN Sub Region"/>
  <p:tag name="EE4P_MAPWIZARD" val="United Republic of Tanzania\Africa\Africa\Eastern Africa"/>
</p:tagLst>
</file>

<file path=ppt/tags/tag169.xml><?xml version="1.0" encoding="utf-8"?>
<p:tagLst xmlns:a="http://schemas.openxmlformats.org/drawingml/2006/main" xmlns:r="http://schemas.openxmlformats.org/officeDocument/2006/relationships" xmlns:p="http://schemas.openxmlformats.org/presentationml/2006/main">
  <p:tag name="EE4P_MAPWIZARD_ID" val="UG"/>
  <p:tag name="EE4P_MAPWIZARD_HEADINGS" val="Admin 0\Continent\UN Region\UN Sub Region"/>
  <p:tag name="EE4P_MAPWIZARD" val="Uganda\Africa\Africa\Eastern Africa"/>
</p:tagLst>
</file>

<file path=ppt/tags/tag17.xml><?xml version="1.0" encoding="utf-8"?>
<p:tagLst xmlns:a="http://schemas.openxmlformats.org/drawingml/2006/main" xmlns:r="http://schemas.openxmlformats.org/officeDocument/2006/relationships" xmlns:p="http://schemas.openxmlformats.org/presentationml/2006/main">
  <p:tag name="EE4P_MAPWIZARD_ID" val="CR"/>
  <p:tag name="EE4P_MAPWIZARD_HEADINGS" val="Admin 0\Continent\UN Region\UN Sub Region"/>
  <p:tag name="EE4P_MAPWIZARD" val="Costa Rica\North America\Americas\Central America"/>
</p:tagLst>
</file>

<file path=ppt/tags/tag170.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Continent\UN Region\UN Sub Region"/>
  <p:tag name="EE4P_MAPWIZARD" val="Ukraine\Europe\Europe\Eastern Europe"/>
</p:tagLst>
</file>

<file path=ppt/tags/tag171.xml><?xml version="1.0" encoding="utf-8"?>
<p:tagLst xmlns:a="http://schemas.openxmlformats.org/drawingml/2006/main" xmlns:r="http://schemas.openxmlformats.org/officeDocument/2006/relationships" xmlns:p="http://schemas.openxmlformats.org/presentationml/2006/main">
  <p:tag name="EE4P_MAPWIZARD_ID" val="UZ"/>
  <p:tag name="EE4P_MAPWIZARD_HEADINGS" val="Admin 0\Continent\UN Region\UN Sub Region"/>
  <p:tag name="EE4P_MAPWIZARD" val="Uzbekistan\Asia\Asia\Central Asia"/>
</p:tagLst>
</file>

<file path=ppt/tags/tag172.xml><?xml version="1.0" encoding="utf-8"?>
<p:tagLst xmlns:a="http://schemas.openxmlformats.org/drawingml/2006/main" xmlns:r="http://schemas.openxmlformats.org/officeDocument/2006/relationships" xmlns:p="http://schemas.openxmlformats.org/presentationml/2006/main">
  <p:tag name="EE4P_MAPWIZARD_ID" val="VN"/>
  <p:tag name="EE4P_MAPWIZARD_HEADINGS" val="Admin 0\Continent\UN Region\UN Sub Region"/>
  <p:tag name="EE4P_MAPWIZARD" val="Vietnam\Asia\Asia\South-Eastern Asia"/>
</p:tagLst>
</file>

<file path=ppt/tags/tag173.xml><?xml version="1.0" encoding="utf-8"?>
<p:tagLst xmlns:a="http://schemas.openxmlformats.org/drawingml/2006/main" xmlns:r="http://schemas.openxmlformats.org/officeDocument/2006/relationships" xmlns:p="http://schemas.openxmlformats.org/presentationml/2006/main">
  <p:tag name="EE4P_MAPWIZARD_ID" val="VU"/>
  <p:tag name="EE4P_MAPWIZARD_HEADINGS" val="Admin 0\Continent\UN Region\UN Sub Region"/>
  <p:tag name="EE4P_MAPWIZARD" val="Vanuatu\Oceania\Oceania\Melanesia"/>
</p:tagLst>
</file>

<file path=ppt/tags/tag174.xml><?xml version="1.0" encoding="utf-8"?>
<p:tagLst xmlns:a="http://schemas.openxmlformats.org/drawingml/2006/main" xmlns:r="http://schemas.openxmlformats.org/officeDocument/2006/relationships" xmlns:p="http://schemas.openxmlformats.org/presentationml/2006/main">
  <p:tag name="EE4P_MAPWIZARD_ID" val="YE"/>
  <p:tag name="EE4P_MAPWIZARD_HEADINGS" val="Admin 0\Continent\UN Region\UN Sub Region"/>
  <p:tag name="EE4P_MAPWIZARD" val="Yemen\Asia\Asia\Western Asia"/>
</p:tagLst>
</file>

<file path=ppt/tags/tag175.xml><?xml version="1.0" encoding="utf-8"?>
<p:tagLst xmlns:a="http://schemas.openxmlformats.org/drawingml/2006/main" xmlns:r="http://schemas.openxmlformats.org/officeDocument/2006/relationships" xmlns:p="http://schemas.openxmlformats.org/presentationml/2006/main">
  <p:tag name="EE4P_MAPWIZARD_ID" val="ZA"/>
  <p:tag name="EE4P_MAPWIZARD_HEADINGS" val="Admin 0\Continent\UN Region\UN Sub Region"/>
  <p:tag name="EE4P_MAPWIZARD" val="South Africa\Africa\Africa\Southern Africa"/>
</p:tagLst>
</file>

<file path=ppt/tags/tag176.xml><?xml version="1.0" encoding="utf-8"?>
<p:tagLst xmlns:a="http://schemas.openxmlformats.org/drawingml/2006/main" xmlns:r="http://schemas.openxmlformats.org/officeDocument/2006/relationships" xmlns:p="http://schemas.openxmlformats.org/presentationml/2006/main">
  <p:tag name="EE4P_MAPWIZARD_ID" val="ZM"/>
  <p:tag name="EE4P_MAPWIZARD_HEADINGS" val="Admin 0\Continent\UN Region\UN Sub Region"/>
  <p:tag name="EE4P_MAPWIZARD" val="Zambia\Africa\Africa\Eastern Africa"/>
</p:tagLst>
</file>

<file path=ppt/tags/tag177.xml><?xml version="1.0" encoding="utf-8"?>
<p:tagLst xmlns:a="http://schemas.openxmlformats.org/drawingml/2006/main" xmlns:r="http://schemas.openxmlformats.org/officeDocument/2006/relationships" xmlns:p="http://schemas.openxmlformats.org/presentationml/2006/main">
  <p:tag name="EE4P_MAPWIZARD_ID" val="ZW"/>
  <p:tag name="EE4P_MAPWIZARD_HEADINGS" val="Admin 0\Continent\UN Region\UN Sub Region"/>
  <p:tag name="EE4P_MAPWIZARD" val="Zimbabwe\Africa\Africa\Eastern Africa"/>
</p:tagLst>
</file>

<file path=ppt/tags/tag178.xml><?xml version="1.0" encoding="utf-8"?>
<p:tagLst xmlns:a="http://schemas.openxmlformats.org/drawingml/2006/main" xmlns:r="http://schemas.openxmlformats.org/officeDocument/2006/relationships" xmlns:p="http://schemas.openxmlformats.org/presentationml/2006/main">
  <p:tag name="EE4P_MAPWIZARD_ID" val="FJ"/>
  <p:tag name="EE4P_MAPWIZARD_HEADINGS" val="Admin 0\Continent\UN Region\UN Sub Region"/>
  <p:tag name="EE4P_MAPWIZARD" val="Fiji\Oceania\Oceania\Melanesia"/>
</p:tagLst>
</file>

<file path=ppt/tags/tag179.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18.xml><?xml version="1.0" encoding="utf-8"?>
<p:tagLst xmlns:a="http://schemas.openxmlformats.org/drawingml/2006/main" xmlns:r="http://schemas.openxmlformats.org/officeDocument/2006/relationships" xmlns:p="http://schemas.openxmlformats.org/presentationml/2006/main">
  <p:tag name="EE4P_MAPWIZARD_ID" val="CU"/>
  <p:tag name="EE4P_MAPWIZARD_HEADINGS" val="Admin 0\Continent\UN Region\UN Sub Region"/>
  <p:tag name="EE4P_MAPWIZARD" val="Cuba\North America\Americas\Caribbean"/>
</p:tagLst>
</file>

<file path=ppt/tags/tag180.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181.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19.xml><?xml version="1.0" encoding="utf-8"?>
<p:tagLst xmlns:a="http://schemas.openxmlformats.org/drawingml/2006/main" xmlns:r="http://schemas.openxmlformats.org/officeDocument/2006/relationships" xmlns:p="http://schemas.openxmlformats.org/presentationml/2006/main">
  <p:tag name="EE4P_MAPWIZARD_ID" val="DO"/>
  <p:tag name="EE4P_MAPWIZARD_HEADINGS" val="Admin 0\Continent\UN Region\UN Sub Region"/>
  <p:tag name="EE4P_MAPWIZARD" val="Dominican Republic\North America\Americas\Caribbean"/>
</p:tagLst>
</file>

<file path=ppt/tags/tag2.xml><?xml version="1.0" encoding="utf-8"?>
<p:tagLst xmlns:a="http://schemas.openxmlformats.org/drawingml/2006/main" xmlns:r="http://schemas.openxmlformats.org/officeDocument/2006/relationships" xmlns:p="http://schemas.openxmlformats.org/presentationml/2006/main">
  <p:tag name="EE4P_TEMPLATESTYLE" val="14"/>
</p:tagLst>
</file>

<file path=ppt/tags/tag20.xml><?xml version="1.0" encoding="utf-8"?>
<p:tagLst xmlns:a="http://schemas.openxmlformats.org/drawingml/2006/main" xmlns:r="http://schemas.openxmlformats.org/officeDocument/2006/relationships" xmlns:p="http://schemas.openxmlformats.org/presentationml/2006/main">
  <p:tag name="EE4P_MAPWIZARD_ID" val="EC"/>
  <p:tag name="EE4P_MAPWIZARD_HEADINGS" val="Admin 0\Continent\UN Region\UN Sub Region"/>
  <p:tag name="EE4P_MAPWIZARD" val="Ecuador\South America\Americas\South America"/>
</p:tagLst>
</file>

<file path=ppt/tags/tag21.xml><?xml version="1.0" encoding="utf-8"?>
<p:tagLst xmlns:a="http://schemas.openxmlformats.org/drawingml/2006/main" xmlns:r="http://schemas.openxmlformats.org/officeDocument/2006/relationships" xmlns:p="http://schemas.openxmlformats.org/presentationml/2006/main">
  <p:tag name="EE4P_MAPWIZARD_ID" val="GT"/>
  <p:tag name="EE4P_MAPWIZARD_HEADINGS" val="Admin 0\Continent\UN Region\UN Sub Region"/>
  <p:tag name="EE4P_MAPWIZARD" val="Guatemala\North America\Americas\Central America"/>
</p:tagLst>
</file>

<file path=ppt/tags/tag22.xml><?xml version="1.0" encoding="utf-8"?>
<p:tagLst xmlns:a="http://schemas.openxmlformats.org/drawingml/2006/main" xmlns:r="http://schemas.openxmlformats.org/officeDocument/2006/relationships" xmlns:p="http://schemas.openxmlformats.org/presentationml/2006/main">
  <p:tag name="EE4P_MAPWIZARD_ID" val="GY"/>
  <p:tag name="EE4P_MAPWIZARD_HEADINGS" val="Admin 0\Continent\UN Region\UN Sub Region"/>
  <p:tag name="EE4P_MAPWIZARD" val="Guyana\South America\Americas\South America"/>
</p:tagLst>
</file>

<file path=ppt/tags/tag23.xml><?xml version="1.0" encoding="utf-8"?>
<p:tagLst xmlns:a="http://schemas.openxmlformats.org/drawingml/2006/main" xmlns:r="http://schemas.openxmlformats.org/officeDocument/2006/relationships" xmlns:p="http://schemas.openxmlformats.org/presentationml/2006/main">
  <p:tag name="EE4P_MAPWIZARD_ID" val="HN"/>
  <p:tag name="EE4P_MAPWIZARD_HEADINGS" val="Admin 0\Continent\UN Region\UN Sub Region"/>
  <p:tag name="EE4P_MAPWIZARD" val="Honduras\North America\Americas\Central America"/>
</p:tagLst>
</file>

<file path=ppt/tags/tag24.xml><?xml version="1.0" encoding="utf-8"?>
<p:tagLst xmlns:a="http://schemas.openxmlformats.org/drawingml/2006/main" xmlns:r="http://schemas.openxmlformats.org/officeDocument/2006/relationships" xmlns:p="http://schemas.openxmlformats.org/presentationml/2006/main">
  <p:tag name="EE4P_MAPWIZARD_ID" val="HT"/>
  <p:tag name="EE4P_MAPWIZARD_HEADINGS" val="Admin 0\Continent\UN Region\UN Sub Region"/>
  <p:tag name="EE4P_MAPWIZARD" val="Haiti\North America\Americas\Caribbean"/>
</p:tagLst>
</file>

<file path=ppt/tags/tag25.xml><?xml version="1.0" encoding="utf-8"?>
<p:tagLst xmlns:a="http://schemas.openxmlformats.org/drawingml/2006/main" xmlns:r="http://schemas.openxmlformats.org/officeDocument/2006/relationships" xmlns:p="http://schemas.openxmlformats.org/presentationml/2006/main">
  <p:tag name="EE4P_MAPWIZARD_ID" val="JM"/>
  <p:tag name="EE4P_MAPWIZARD_HEADINGS" val="Admin 0\Continent\UN Region\UN Sub Region"/>
  <p:tag name="EE4P_MAPWIZARD" val="Jamaica\North America\Americas\Caribbean"/>
</p:tagLst>
</file>

<file path=ppt/tags/tag26.xml><?xml version="1.0" encoding="utf-8"?>
<p:tagLst xmlns:a="http://schemas.openxmlformats.org/drawingml/2006/main" xmlns:r="http://schemas.openxmlformats.org/officeDocument/2006/relationships" xmlns:p="http://schemas.openxmlformats.org/presentationml/2006/main">
  <p:tag name="EE4P_MAPWIZARD_ID" val="MX"/>
  <p:tag name="EE4P_MAPWIZARD_HEADINGS" val="Admin 0\Continent\UN Region\UN Sub Region"/>
  <p:tag name="EE4P_MAPWIZARD" val="Mexico\North America\Americas\Central America"/>
</p:tagLst>
</file>

<file path=ppt/tags/tag27.xml><?xml version="1.0" encoding="utf-8"?>
<p:tagLst xmlns:a="http://schemas.openxmlformats.org/drawingml/2006/main" xmlns:r="http://schemas.openxmlformats.org/officeDocument/2006/relationships" xmlns:p="http://schemas.openxmlformats.org/presentationml/2006/main">
  <p:tag name="EE4P_MAPWIZARD_ID" val="NI"/>
  <p:tag name="EE4P_MAPWIZARD_HEADINGS" val="Admin 0\Continent\UN Region\UN Sub Region"/>
  <p:tag name="EE4P_MAPWIZARD" val="Nicaragua\North America\Americas\Central America"/>
</p:tagLst>
</file>

<file path=ppt/tags/tag28.xml><?xml version="1.0" encoding="utf-8"?>
<p:tagLst xmlns:a="http://schemas.openxmlformats.org/drawingml/2006/main" xmlns:r="http://schemas.openxmlformats.org/officeDocument/2006/relationships" xmlns:p="http://schemas.openxmlformats.org/presentationml/2006/main">
  <p:tag name="EE4P_MAPWIZARD_ID" val="PA"/>
  <p:tag name="EE4P_MAPWIZARD_HEADINGS" val="Admin 0\Continent\UN Region\UN Sub Region"/>
  <p:tag name="EE4P_MAPWIZARD" val="Panama\North America\Americas\Central America"/>
</p:tagLst>
</file>

<file path=ppt/tags/tag29.xml><?xml version="1.0" encoding="utf-8"?>
<p:tagLst xmlns:a="http://schemas.openxmlformats.org/drawingml/2006/main" xmlns:r="http://schemas.openxmlformats.org/officeDocument/2006/relationships" xmlns:p="http://schemas.openxmlformats.org/presentationml/2006/main">
  <p:tag name="EE4P_MAPWIZARD_ID" val="PE"/>
  <p:tag name="EE4P_MAPWIZARD_HEADINGS" val="Admin 0\Continent\UN Region\UN Sub Region"/>
  <p:tag name="EE4P_MAPWIZARD" val="Peru\South America\Americas\South America"/>
</p:tagLst>
</file>

<file path=ppt/tags/tag3.xml><?xml version="1.0" encoding="utf-8"?>
<p:tagLst xmlns:a="http://schemas.openxmlformats.org/drawingml/2006/main" xmlns:r="http://schemas.openxmlformats.org/officeDocument/2006/relationships" xmlns:p="http://schemas.openxmlformats.org/presentationml/2006/main">
  <p:tag name="EE4P_TEMPLATESTYLE" val="14"/>
</p:tagLst>
</file>

<file path=ppt/tags/tag30.xml><?xml version="1.0" encoding="utf-8"?>
<p:tagLst xmlns:a="http://schemas.openxmlformats.org/drawingml/2006/main" xmlns:r="http://schemas.openxmlformats.org/officeDocument/2006/relationships" xmlns:p="http://schemas.openxmlformats.org/presentationml/2006/main">
  <p:tag name="EE4P_MAPWIZARD_ID" val="PY"/>
  <p:tag name="EE4P_MAPWIZARD_HEADINGS" val="Admin 0\Continent\UN Region\UN Sub Region"/>
  <p:tag name="EE4P_MAPWIZARD" val="Paraguay\South America\Americas\South America"/>
</p:tagLst>
</file>

<file path=ppt/tags/tag31.xml><?xml version="1.0" encoding="utf-8"?>
<p:tagLst xmlns:a="http://schemas.openxmlformats.org/drawingml/2006/main" xmlns:r="http://schemas.openxmlformats.org/officeDocument/2006/relationships" xmlns:p="http://schemas.openxmlformats.org/presentationml/2006/main">
  <p:tag name="EE4P_MAPWIZARD_ID" val="SV"/>
  <p:tag name="EE4P_MAPWIZARD_HEADINGS" val="Admin 0\Continent\UN Region\UN Sub Region"/>
  <p:tag name="EE4P_MAPWIZARD" val="El Salvador\North America\Americas\Central America"/>
</p:tagLst>
</file>

<file path=ppt/tags/tag32.xml><?xml version="1.0" encoding="utf-8"?>
<p:tagLst xmlns:a="http://schemas.openxmlformats.org/drawingml/2006/main" xmlns:r="http://schemas.openxmlformats.org/officeDocument/2006/relationships" xmlns:p="http://schemas.openxmlformats.org/presentationml/2006/main">
  <p:tag name="EE4P_MAPWIZARD_ID" val="SR"/>
  <p:tag name="EE4P_MAPWIZARD_HEADINGS" val="Admin 0\Continent\UN Region\UN Sub Region"/>
  <p:tag name="EE4P_MAPWIZARD" val="Suriname\South America\Americas\South America"/>
</p:tagLst>
</file>

<file path=ppt/tags/tag33.xml><?xml version="1.0" encoding="utf-8"?>
<p:tagLst xmlns:a="http://schemas.openxmlformats.org/drawingml/2006/main" xmlns:r="http://schemas.openxmlformats.org/officeDocument/2006/relationships" xmlns:p="http://schemas.openxmlformats.org/presentationml/2006/main">
  <p:tag name="EE4P_MAPWIZARD_ID" val="TT"/>
  <p:tag name="EE4P_MAPWIZARD_HEADINGS" val="Admin 0\Continent\UN Region\UN Sub Region"/>
  <p:tag name="EE4P_MAPWIZARD" val="Trinidad and Tobago\North America\Americas\Caribbean"/>
</p:tagLst>
</file>

<file path=ppt/tags/tag34.xml><?xml version="1.0" encoding="utf-8"?>
<p:tagLst xmlns:a="http://schemas.openxmlformats.org/drawingml/2006/main" xmlns:r="http://schemas.openxmlformats.org/officeDocument/2006/relationships" xmlns:p="http://schemas.openxmlformats.org/presentationml/2006/main">
  <p:tag name="EE4P_MAPWIZARD_ID" val="UY"/>
  <p:tag name="EE4P_MAPWIZARD_HEADINGS" val="Admin 0\Continent\UN Region\UN Sub Region"/>
  <p:tag name="EE4P_MAPWIZARD" val="Uruguay\South America\Americas\South America"/>
</p:tagLst>
</file>

<file path=ppt/tags/tag35.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36.xml><?xml version="1.0" encoding="utf-8"?>
<p:tagLst xmlns:a="http://schemas.openxmlformats.org/drawingml/2006/main" xmlns:r="http://schemas.openxmlformats.org/officeDocument/2006/relationships" xmlns:p="http://schemas.openxmlformats.org/presentationml/2006/main">
  <p:tag name="EE4P_MAPWIZARD_ID" val="VE"/>
  <p:tag name="EE4P_MAPWIZARD_HEADINGS" val="Admin 0\Continent\UN Region\UN Sub Region"/>
  <p:tag name="EE4P_MAPWIZARD" val="Venezuela\South America\Americas\South America"/>
</p:tagLst>
</file>

<file path=ppt/tags/tag37.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38.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39.xml><?xml version="1.0" encoding="utf-8"?>
<p:tagLst xmlns:a="http://schemas.openxmlformats.org/drawingml/2006/main" xmlns:r="http://schemas.openxmlformats.org/officeDocument/2006/relationships" xmlns:p="http://schemas.openxmlformats.org/presentationml/2006/main">
  <p:tag name="EE4P_MAPWIZARD_ID" val="AF"/>
  <p:tag name="EE4P_MAPWIZARD_HEADINGS" val="Admin 0\Continent\UN Region\UN Sub Region"/>
  <p:tag name="EE4P_MAPWIZARD" val="Afghanistan\Asia\Asia\Southern Asia"/>
</p:tagLst>
</file>

<file path=ppt/tags/tag4.xml><?xml version="1.0" encoding="utf-8"?>
<p:tagLst xmlns:a="http://schemas.openxmlformats.org/drawingml/2006/main" xmlns:r="http://schemas.openxmlformats.org/officeDocument/2006/relationships" xmlns:p="http://schemas.openxmlformats.org/presentationml/2006/main">
  <p:tag name="EE4P_TEMPLATESTYLE" val="14"/>
</p:tagLst>
</file>

<file path=ppt/tags/tag40.xml><?xml version="1.0" encoding="utf-8"?>
<p:tagLst xmlns:a="http://schemas.openxmlformats.org/drawingml/2006/main" xmlns:r="http://schemas.openxmlformats.org/officeDocument/2006/relationships" xmlns:p="http://schemas.openxmlformats.org/presentationml/2006/main">
  <p:tag name="EE4P_MAPWIZARD_ID" val="AO"/>
  <p:tag name="EE4P_MAPWIZARD_HEADINGS" val="Admin 0\Continent\UN Region\UN Sub Region"/>
  <p:tag name="EE4P_MAPWIZARD" val="Angola\Africa\Africa\Middle Africa"/>
</p:tagLst>
</file>

<file path=ppt/tags/tag41.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
  <p:tag name="EE4P_MAPWIZARD" val="Albania\Europe\Europe\Southern Europe"/>
</p:tagLst>
</file>

<file path=ppt/tags/tag42.xml><?xml version="1.0" encoding="utf-8"?>
<p:tagLst xmlns:a="http://schemas.openxmlformats.org/drawingml/2006/main" xmlns:r="http://schemas.openxmlformats.org/officeDocument/2006/relationships" xmlns:p="http://schemas.openxmlformats.org/presentationml/2006/main">
  <p:tag name="EE4P_MAPWIZARD_ID" val="AE"/>
  <p:tag name="EE4P_MAPWIZARD_HEADINGS" val="Admin 0\Continent\UN Region\UN Sub Region"/>
  <p:tag name="EE4P_MAPWIZARD" val="United Arab Emirates\Asia\Asia\Western Asia"/>
</p:tagLst>
</file>

<file path=ppt/tags/tag43.xml><?xml version="1.0" encoding="utf-8"?>
<p:tagLst xmlns:a="http://schemas.openxmlformats.org/drawingml/2006/main" xmlns:r="http://schemas.openxmlformats.org/officeDocument/2006/relationships" xmlns:p="http://schemas.openxmlformats.org/presentationml/2006/main">
  <p:tag name="EE4P_MAPWIZARD_ID" val="AM"/>
  <p:tag name="EE4P_MAPWIZARD_HEADINGS" val="Admin 0\Continent\UN Region\UN Sub Region"/>
  <p:tag name="EE4P_MAPWIZARD" val="Armenia\Asia\Asia\Western Asia"/>
</p:tagLst>
</file>

<file path=ppt/tags/tag44.xml><?xml version="1.0" encoding="utf-8"?>
<p:tagLst xmlns:a="http://schemas.openxmlformats.org/drawingml/2006/main" xmlns:r="http://schemas.openxmlformats.org/officeDocument/2006/relationships" xmlns:p="http://schemas.openxmlformats.org/presentationml/2006/main">
  <p:tag name="EE4P_MAPWIZARD_ID" val="AU"/>
  <p:tag name="EE4P_MAPWIZARD_HEADINGS" val="Admin 0\Continent\UN Region\UN Sub Region"/>
  <p:tag name="EE4P_MAPWIZARD" val="Australia\Oceania\Oceania\Australia and New Zealand"/>
</p:tagLst>
</file>

<file path=ppt/tags/tag45.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
  <p:tag name="EE4P_MAPWIZARD" val="Austria\Europe\Europe\Western Europe"/>
</p:tagLst>
</file>

<file path=ppt/tags/tag46.xml><?xml version="1.0" encoding="utf-8"?>
<p:tagLst xmlns:a="http://schemas.openxmlformats.org/drawingml/2006/main" xmlns:r="http://schemas.openxmlformats.org/officeDocument/2006/relationships" xmlns:p="http://schemas.openxmlformats.org/presentationml/2006/main">
  <p:tag name="EE4P_MAPWIZARD_ID" val="AZ"/>
  <p:tag name="EE4P_MAPWIZARD_HEADINGS" val="Admin 0\Continent\UN Region\UN Sub Region"/>
  <p:tag name="EE4P_MAPWIZARD" val="Azerbaijan\Asia\Asia\Western Asia"/>
</p:tagLst>
</file>

<file path=ppt/tags/tag47.xml><?xml version="1.0" encoding="utf-8"?>
<p:tagLst xmlns:a="http://schemas.openxmlformats.org/drawingml/2006/main" xmlns:r="http://schemas.openxmlformats.org/officeDocument/2006/relationships" xmlns:p="http://schemas.openxmlformats.org/presentationml/2006/main">
  <p:tag name="EE4P_MAPWIZARD_ID" val="BI"/>
  <p:tag name="EE4P_MAPWIZARD_HEADINGS" val="Admin 0\Continent\UN Region\UN Sub Region"/>
  <p:tag name="EE4P_MAPWIZARD" val="Burundi\Africa\Africa\Eastern Africa"/>
</p:tagLst>
</file>

<file path=ppt/tags/tag48.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
  <p:tag name="EE4P_MAPWIZARD" val="Belgium\Europe\Europe\Western Europe"/>
</p:tagLst>
</file>

<file path=ppt/tags/tag49.xml><?xml version="1.0" encoding="utf-8"?>
<p:tagLst xmlns:a="http://schemas.openxmlformats.org/drawingml/2006/main" xmlns:r="http://schemas.openxmlformats.org/officeDocument/2006/relationships" xmlns:p="http://schemas.openxmlformats.org/presentationml/2006/main">
  <p:tag name="EE4P_MAPWIZARD_ID" val="BJ"/>
  <p:tag name="EE4P_MAPWIZARD_HEADINGS" val="Admin 0\Continent\UN Region\UN Sub Region"/>
  <p:tag name="EE4P_MAPWIZARD" val="Benin\Africa\Africa\Western Africa"/>
</p:tagLst>
</file>

<file path=ppt/tags/tag5.xml><?xml version="1.0" encoding="utf-8"?>
<p:tagLst xmlns:a="http://schemas.openxmlformats.org/drawingml/2006/main" xmlns:r="http://schemas.openxmlformats.org/officeDocument/2006/relationships" xmlns:p="http://schemas.openxmlformats.org/presentationml/2006/main">
  <p:tag name="EE4P_TEMPLATESTYLE" val="14"/>
</p:tagLst>
</file>

<file path=ppt/tags/tag50.xml><?xml version="1.0" encoding="utf-8"?>
<p:tagLst xmlns:a="http://schemas.openxmlformats.org/drawingml/2006/main" xmlns:r="http://schemas.openxmlformats.org/officeDocument/2006/relationships" xmlns:p="http://schemas.openxmlformats.org/presentationml/2006/main">
  <p:tag name="EE4P_MAPWIZARD_ID" val="BF"/>
  <p:tag name="EE4P_MAPWIZARD_HEADINGS" val="Admin 0\Continent\UN Region\UN Sub Region"/>
  <p:tag name="EE4P_MAPWIZARD" val="Burkina Faso\Africa\Africa\Western Africa"/>
</p:tagLst>
</file>

<file path=ppt/tags/tag51.xml><?xml version="1.0" encoding="utf-8"?>
<p:tagLst xmlns:a="http://schemas.openxmlformats.org/drawingml/2006/main" xmlns:r="http://schemas.openxmlformats.org/officeDocument/2006/relationships" xmlns:p="http://schemas.openxmlformats.org/presentationml/2006/main">
  <p:tag name="EE4P_MAPWIZARD_ID" val="BD"/>
  <p:tag name="EE4P_MAPWIZARD_HEADINGS" val="Admin 0\Continent\UN Region\UN Sub Region"/>
  <p:tag name="EE4P_MAPWIZARD" val="Bangladesh\Asia\Asia\Southern Asia"/>
</p:tagLst>
</file>

<file path=ppt/tags/tag52.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
  <p:tag name="EE4P_MAPWIZARD" val="Bulgaria\Europe\Europe\Eastern Europe"/>
</p:tagLst>
</file>

<file path=ppt/tags/tag53.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
  <p:tag name="EE4P_MAPWIZARD" val="Bosnia and Herzegovina\Europe\Europe\Southern Europe"/>
</p:tagLst>
</file>

<file path=ppt/tags/tag54.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Continent\UN Region\UN Sub Region"/>
  <p:tag name="EE4P_MAPWIZARD" val="Belarus\Europe\Europe\Eastern Europe"/>
</p:tagLst>
</file>

<file path=ppt/tags/tag55.xml><?xml version="1.0" encoding="utf-8"?>
<p:tagLst xmlns:a="http://schemas.openxmlformats.org/drawingml/2006/main" xmlns:r="http://schemas.openxmlformats.org/officeDocument/2006/relationships" xmlns:p="http://schemas.openxmlformats.org/presentationml/2006/main">
  <p:tag name="EE4P_MAPWIZARD_ID" val="BN"/>
  <p:tag name="EE4P_MAPWIZARD_HEADINGS" val="Admin 0\Continent\UN Region\UN Sub Region"/>
  <p:tag name="EE4P_MAPWIZARD" val="Brunei\Asia\Asia\South-Eastern Asia"/>
</p:tagLst>
</file>

<file path=ppt/tags/tag56.xml><?xml version="1.0" encoding="utf-8"?>
<p:tagLst xmlns:a="http://schemas.openxmlformats.org/drawingml/2006/main" xmlns:r="http://schemas.openxmlformats.org/officeDocument/2006/relationships" xmlns:p="http://schemas.openxmlformats.org/presentationml/2006/main">
  <p:tag name="EE4P_MAPWIZARD_ID" val="BT"/>
  <p:tag name="EE4P_MAPWIZARD_HEADINGS" val="Admin 0\Continent\UN Region\UN Sub Region"/>
  <p:tag name="EE4P_MAPWIZARD" val="Bhutan\Asia\Asia\Southern Asia"/>
</p:tagLst>
</file>

<file path=ppt/tags/tag57.xml><?xml version="1.0" encoding="utf-8"?>
<p:tagLst xmlns:a="http://schemas.openxmlformats.org/drawingml/2006/main" xmlns:r="http://schemas.openxmlformats.org/officeDocument/2006/relationships" xmlns:p="http://schemas.openxmlformats.org/presentationml/2006/main">
  <p:tag name="EE4P_MAPWIZARD_ID" val="BW"/>
  <p:tag name="EE4P_MAPWIZARD_HEADINGS" val="Admin 0\Continent\UN Region\UN Sub Region"/>
  <p:tag name="EE4P_MAPWIZARD" val="Botswana\Africa\Africa\Southern Africa"/>
</p:tagLst>
</file>

<file path=ppt/tags/tag58.xml><?xml version="1.0" encoding="utf-8"?>
<p:tagLst xmlns:a="http://schemas.openxmlformats.org/drawingml/2006/main" xmlns:r="http://schemas.openxmlformats.org/officeDocument/2006/relationships" xmlns:p="http://schemas.openxmlformats.org/presentationml/2006/main">
  <p:tag name="EE4P_MAPWIZARD_ID" val="CF"/>
  <p:tag name="EE4P_MAPWIZARD_HEADINGS" val="Admin 0\Continent\UN Region\UN Sub Region"/>
  <p:tag name="EE4P_MAPWIZARD" val="Central African Republic\Africa\Africa\Middle Africa"/>
</p:tagLst>
</file>

<file path=ppt/tags/tag59.xml><?xml version="1.0" encoding="utf-8"?>
<p:tagLst xmlns:a="http://schemas.openxmlformats.org/drawingml/2006/main" xmlns:r="http://schemas.openxmlformats.org/officeDocument/2006/relationships" xmlns:p="http://schemas.openxmlformats.org/presentationml/2006/main">
  <p:tag name="EE4P_MAPWIZARD_ID" val="CN"/>
  <p:tag name="EE4P_MAPWIZARD_HEADINGS" val="Admin 0\Continent\UN Region\UN Sub Region"/>
  <p:tag name="EE4P_MAPWIZARD" val="China\Asia\Asia\Eastern Asia"/>
</p:tagLst>
</file>

<file path=ppt/tags/tag6.xml><?xml version="1.0" encoding="utf-8"?>
<p:tagLst xmlns:a="http://schemas.openxmlformats.org/drawingml/2006/main" xmlns:r="http://schemas.openxmlformats.org/officeDocument/2006/relationships" xmlns:p="http://schemas.openxmlformats.org/presentationml/2006/main">
  <p:tag name="EE4P_TEMPLATESTYLE" val="14"/>
</p:tagLst>
</file>

<file path=ppt/tags/tag60.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
  <p:tag name="EE4P_MAPWIZARD" val="Switzerland\Europe\Europe\Western Europe"/>
</p:tagLst>
</file>

<file path=ppt/tags/tag61.xml><?xml version="1.0" encoding="utf-8"?>
<p:tagLst xmlns:a="http://schemas.openxmlformats.org/drawingml/2006/main" xmlns:r="http://schemas.openxmlformats.org/officeDocument/2006/relationships" xmlns:p="http://schemas.openxmlformats.org/presentationml/2006/main">
  <p:tag name="EE4P_MAPWIZARD_ID" val="CI"/>
  <p:tag name="EE4P_MAPWIZARD_HEADINGS" val="Admin 0\Continent\UN Region\UN Sub Region"/>
  <p:tag name="EE4P_MAPWIZARD" val="Ivory Coast\Africa\Africa\Western Africa"/>
</p:tagLst>
</file>

<file path=ppt/tags/tag62.xml><?xml version="1.0" encoding="utf-8"?>
<p:tagLst xmlns:a="http://schemas.openxmlformats.org/drawingml/2006/main" xmlns:r="http://schemas.openxmlformats.org/officeDocument/2006/relationships" xmlns:p="http://schemas.openxmlformats.org/presentationml/2006/main">
  <p:tag name="EE4P_MAPWIZARD_ID" val="CM"/>
  <p:tag name="EE4P_MAPWIZARD_HEADINGS" val="Admin 0\Continent\UN Region\UN Sub Region"/>
  <p:tag name="EE4P_MAPWIZARD" val="Cameroon\Africa\Africa\Middle Africa"/>
</p:tagLst>
</file>

<file path=ppt/tags/tag63.xml><?xml version="1.0" encoding="utf-8"?>
<p:tagLst xmlns:a="http://schemas.openxmlformats.org/drawingml/2006/main" xmlns:r="http://schemas.openxmlformats.org/officeDocument/2006/relationships" xmlns:p="http://schemas.openxmlformats.org/presentationml/2006/main">
  <p:tag name="EE4P_MAPWIZARD_ID" val="CD"/>
  <p:tag name="EE4P_MAPWIZARD_HEADINGS" val="Admin 0\Continent\UN Region\UN Sub Region"/>
  <p:tag name="EE4P_MAPWIZARD" val="Democratic Republic of the Congo\Africa\Africa\Middle Africa"/>
</p:tagLst>
</file>

<file path=ppt/tags/tag64.xml><?xml version="1.0" encoding="utf-8"?>
<p:tagLst xmlns:a="http://schemas.openxmlformats.org/drawingml/2006/main" xmlns:r="http://schemas.openxmlformats.org/officeDocument/2006/relationships" xmlns:p="http://schemas.openxmlformats.org/presentationml/2006/main">
  <p:tag name="EE4P_MAPWIZARD_ID" val="CG"/>
  <p:tag name="EE4P_MAPWIZARD_HEADINGS" val="Admin 0\Continent\UN Region\UN Sub Region"/>
  <p:tag name="EE4P_MAPWIZARD" val="Republic of Congo\Africa\Africa\Middle Africa"/>
</p:tagLst>
</file>

<file path=ppt/tags/tag65.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Northern Cyprus\Asia\Asia\Western Asia"/>
</p:tagLst>
</file>

<file path=ppt/tags/tag66.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Cyprus\Asia\Asia\Western Asia"/>
</p:tagLst>
</file>

<file path=ppt/tags/tag67.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
  <p:tag name="EE4P_MAPWIZARD" val="Czech Republic\Europe\Europe\Eastern Europe"/>
</p:tagLst>
</file>

<file path=ppt/tags/tag68.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
  <p:tag name="EE4P_MAPWIZARD" val="Germany\Europe\Europe\Western Europe"/>
</p:tagLst>
</file>

<file path=ppt/tags/tag69.xml><?xml version="1.0" encoding="utf-8"?>
<p:tagLst xmlns:a="http://schemas.openxmlformats.org/drawingml/2006/main" xmlns:r="http://schemas.openxmlformats.org/officeDocument/2006/relationships" xmlns:p="http://schemas.openxmlformats.org/presentationml/2006/main">
  <p:tag name="EE4P_MAPWIZARD_ID" val="DJ"/>
  <p:tag name="EE4P_MAPWIZARD_HEADINGS" val="Admin 0\Continent\UN Region\UN Sub Region"/>
  <p:tag name="EE4P_MAPWIZARD" val="Djibouti\Africa\Africa\Eastern Africa"/>
</p:tagLst>
</file>

<file path=ppt/tags/tag7.xml><?xml version="1.0" encoding="utf-8"?>
<p:tagLst xmlns:a="http://schemas.openxmlformats.org/drawingml/2006/main" xmlns:r="http://schemas.openxmlformats.org/officeDocument/2006/relationships" xmlns:p="http://schemas.openxmlformats.org/presentationml/2006/main">
  <p:tag name="EE4P_TEMPLATESTYLE" val="14"/>
</p:tagLst>
</file>

<file path=ppt/tags/tag70.xml><?xml version="1.0" encoding="utf-8"?>
<p:tagLst xmlns:a="http://schemas.openxmlformats.org/drawingml/2006/main" xmlns:r="http://schemas.openxmlformats.org/officeDocument/2006/relationships" xmlns:p="http://schemas.openxmlformats.org/presentationml/2006/main">
  <p:tag name="EE4P_MAPWIZARD_ID" val="DZ"/>
  <p:tag name="EE4P_MAPWIZARD_HEADINGS" val="Admin 0\Continent\UN Region\UN Sub Region"/>
  <p:tag name="EE4P_MAPWIZARD" val="Algeria\Africa\Africa\Northern Africa"/>
</p:tagLst>
</file>

<file path=ppt/tags/tag71.xml><?xml version="1.0" encoding="utf-8"?>
<p:tagLst xmlns:a="http://schemas.openxmlformats.org/drawingml/2006/main" xmlns:r="http://schemas.openxmlformats.org/officeDocument/2006/relationships" xmlns:p="http://schemas.openxmlformats.org/presentationml/2006/main">
  <p:tag name="EE4P_MAPWIZARD_ID" val="EG"/>
  <p:tag name="EE4P_MAPWIZARD_HEADINGS" val="Admin 0\Continent\UN Region\UN Sub Region"/>
  <p:tag name="EE4P_MAPWIZARD" val="Egypt\Africa\Africa\Northern Africa"/>
</p:tagLst>
</file>

<file path=ppt/tags/tag72.xml><?xml version="1.0" encoding="utf-8"?>
<p:tagLst xmlns:a="http://schemas.openxmlformats.org/drawingml/2006/main" xmlns:r="http://schemas.openxmlformats.org/officeDocument/2006/relationships" xmlns:p="http://schemas.openxmlformats.org/presentationml/2006/main">
  <p:tag name="EE4P_MAPWIZARD_ID" val="ER"/>
  <p:tag name="EE4P_MAPWIZARD_HEADINGS" val="Admin 0\Continent\UN Region\UN Sub Region"/>
  <p:tag name="EE4P_MAPWIZARD" val="Eritrea\Africa\Africa\Eastern Africa"/>
</p:tagLst>
</file>

<file path=ppt/tags/tag73.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74.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
  <p:tag name="EE4P_MAPWIZARD" val="Estonia\Europe\Europe\Northern Europe"/>
</p:tagLst>
</file>

<file path=ppt/tags/tag75.xml><?xml version="1.0" encoding="utf-8"?>
<p:tagLst xmlns:a="http://schemas.openxmlformats.org/drawingml/2006/main" xmlns:r="http://schemas.openxmlformats.org/officeDocument/2006/relationships" xmlns:p="http://schemas.openxmlformats.org/presentationml/2006/main">
  <p:tag name="EE4P_MAPWIZARD_ID" val="ET"/>
  <p:tag name="EE4P_MAPWIZARD_HEADINGS" val="Admin 0\Continent\UN Region\UN Sub Region"/>
  <p:tag name="EE4P_MAPWIZARD" val="Ethiopia\Africa\Africa\Eastern Africa"/>
</p:tagLst>
</file>

<file path=ppt/tags/tag76.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Continent\UN Region\UN Sub Region"/>
  <p:tag name="EE4P_MAPWIZARD" val="Finland\Europe\Europe\Northern Europe"/>
</p:tagLst>
</file>

<file path=ppt/tags/tag77.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78.xml><?xml version="1.0" encoding="utf-8"?>
<p:tagLst xmlns:a="http://schemas.openxmlformats.org/drawingml/2006/main" xmlns:r="http://schemas.openxmlformats.org/officeDocument/2006/relationships" xmlns:p="http://schemas.openxmlformats.org/presentationml/2006/main">
  <p:tag name="EE4P_MAPWIZARD_ID" val="GA"/>
  <p:tag name="EE4P_MAPWIZARD_HEADINGS" val="Admin 0\Continent\UN Region\UN Sub Region"/>
  <p:tag name="EE4P_MAPWIZARD" val="Gabon\Africa\Africa\Middle Africa"/>
</p:tagLst>
</file>

<file path=ppt/tags/tag79.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Continent\UN Region\UN Sub Region"/>
  <p:tag name="EE4P_MAPWIZARD" val="Georgia\Asia\Asia\Western Asia"/>
</p:tagLst>
</file>

<file path=ppt/tags/tag8.xml><?xml version="1.0" encoding="utf-8"?>
<p:tagLst xmlns:a="http://schemas.openxmlformats.org/drawingml/2006/main" xmlns:r="http://schemas.openxmlformats.org/officeDocument/2006/relationships" xmlns:p="http://schemas.openxmlformats.org/presentationml/2006/main">
  <p:tag name="EE4P_TEMPLATESTYLE" val="14"/>
</p:tagLst>
</file>

<file path=ppt/tags/tag80.xml><?xml version="1.0" encoding="utf-8"?>
<p:tagLst xmlns:a="http://schemas.openxmlformats.org/drawingml/2006/main" xmlns:r="http://schemas.openxmlformats.org/officeDocument/2006/relationships" xmlns:p="http://schemas.openxmlformats.org/presentationml/2006/main">
  <p:tag name="EE4P_MAPWIZARD_ID" val="GH"/>
  <p:tag name="EE4P_MAPWIZARD_HEADINGS" val="Admin 0\Continent\UN Region\UN Sub Region"/>
  <p:tag name="EE4P_MAPWIZARD" val="Ghana\Africa\Africa\Western Africa"/>
</p:tagLst>
</file>

<file path=ppt/tags/tag81.xml><?xml version="1.0" encoding="utf-8"?>
<p:tagLst xmlns:a="http://schemas.openxmlformats.org/drawingml/2006/main" xmlns:r="http://schemas.openxmlformats.org/officeDocument/2006/relationships" xmlns:p="http://schemas.openxmlformats.org/presentationml/2006/main">
  <p:tag name="EE4P_MAPWIZARD_ID" val="GN"/>
  <p:tag name="EE4P_MAPWIZARD_HEADINGS" val="Admin 0\Continent\UN Region\UN Sub Region"/>
  <p:tag name="EE4P_MAPWIZARD" val="Guinea\Africa\Africa\Western Africa"/>
</p:tagLst>
</file>

<file path=ppt/tags/tag82.xml><?xml version="1.0" encoding="utf-8"?>
<p:tagLst xmlns:a="http://schemas.openxmlformats.org/drawingml/2006/main" xmlns:r="http://schemas.openxmlformats.org/officeDocument/2006/relationships" xmlns:p="http://schemas.openxmlformats.org/presentationml/2006/main">
  <p:tag name="EE4P_MAPWIZARD_ID" val="GM"/>
  <p:tag name="EE4P_MAPWIZARD_HEADINGS" val="Admin 0\Continent\UN Region\UN Sub Region"/>
  <p:tag name="EE4P_MAPWIZARD" val="Gambia\Africa\Africa\Western Africa"/>
</p:tagLst>
</file>

<file path=ppt/tags/tag83.xml><?xml version="1.0" encoding="utf-8"?>
<p:tagLst xmlns:a="http://schemas.openxmlformats.org/drawingml/2006/main" xmlns:r="http://schemas.openxmlformats.org/officeDocument/2006/relationships" xmlns:p="http://schemas.openxmlformats.org/presentationml/2006/main">
  <p:tag name="EE4P_MAPWIZARD_ID" val="GW"/>
  <p:tag name="EE4P_MAPWIZARD_HEADINGS" val="Admin 0\Continent\UN Region\UN Sub Region"/>
  <p:tag name="EE4P_MAPWIZARD" val="Guinea Bissau\Africa\Africa\Western Africa"/>
</p:tagLst>
</file>

<file path=ppt/tags/tag84.xml><?xml version="1.0" encoding="utf-8"?>
<p:tagLst xmlns:a="http://schemas.openxmlformats.org/drawingml/2006/main" xmlns:r="http://schemas.openxmlformats.org/officeDocument/2006/relationships" xmlns:p="http://schemas.openxmlformats.org/presentationml/2006/main">
  <p:tag name="EE4P_MAPWIZARD_ID" val="GQ"/>
  <p:tag name="EE4P_MAPWIZARD_HEADINGS" val="Admin 0\Continent\UN Region\UN Sub Region"/>
  <p:tag name="EE4P_MAPWIZARD" val="Equatorial Guinea\Africa\Africa\Middle Africa"/>
</p:tagLst>
</file>

<file path=ppt/tags/tag85.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
  <p:tag name="EE4P_MAPWIZARD" val="Greece\Europe\Europe\Southern Europe"/>
</p:tagLst>
</file>

<file path=ppt/tags/tag86.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
  <p:tag name="EE4P_MAPWIZARD" val="Croatia\Europe\Europe\Southern Europe"/>
</p:tagLst>
</file>

<file path=ppt/tags/tag87.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
  <p:tag name="EE4P_MAPWIZARD" val="Hungary\Europe\Europe\Eastern Europe"/>
</p:tagLst>
</file>

<file path=ppt/tags/tag88.xml><?xml version="1.0" encoding="utf-8"?>
<p:tagLst xmlns:a="http://schemas.openxmlformats.org/drawingml/2006/main" xmlns:r="http://schemas.openxmlformats.org/officeDocument/2006/relationships" xmlns:p="http://schemas.openxmlformats.org/presentationml/2006/main">
  <p:tag name="EE4P_MAPWIZARD_ID" val="ID"/>
  <p:tag name="EE4P_MAPWIZARD_HEADINGS" val="Admin 0\Continent\UN Region\UN Sub Region"/>
  <p:tag name="EE4P_MAPWIZARD" val="Indonesia\Asia\Asia\South-Eastern Asia"/>
</p:tagLst>
</file>

<file path=ppt/tags/tag89.xml><?xml version="1.0" encoding="utf-8"?>
<p:tagLst xmlns:a="http://schemas.openxmlformats.org/drawingml/2006/main" xmlns:r="http://schemas.openxmlformats.org/officeDocument/2006/relationships" xmlns:p="http://schemas.openxmlformats.org/presentationml/2006/main">
  <p:tag name="EE4P_MAPWIZARD_ID" val="IN"/>
  <p:tag name="EE4P_MAPWIZARD_HEADINGS" val="Admin 0\Continent\UN Region\UN Sub Region"/>
  <p:tag name="EE4P_MAPWIZARD" val="India\Asia\Asia\Southern Asia"/>
</p:tagLst>
</file>

<file path=ppt/tags/tag9.xml><?xml version="1.0" encoding="utf-8"?>
<p:tagLst xmlns:a="http://schemas.openxmlformats.org/drawingml/2006/main" xmlns:r="http://schemas.openxmlformats.org/officeDocument/2006/relationships" xmlns:p="http://schemas.openxmlformats.org/presentationml/2006/main">
  <p:tag name="EE4P_MAPWIZARD_ID" val="AR"/>
  <p:tag name="EE4P_MAPWIZARD_HEADINGS" val="Admin 0\Continent\UN Region\UN Sub Region"/>
  <p:tag name="EE4P_MAPWIZARD" val="Argentina\South America\Americas\South America"/>
</p:tagLst>
</file>

<file path=ppt/tags/tag90.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
  <p:tag name="EE4P_MAPWIZARD" val="Ireland\Europe\Europe\Northern Europe"/>
</p:tagLst>
</file>

<file path=ppt/tags/tag91.xml><?xml version="1.0" encoding="utf-8"?>
<p:tagLst xmlns:a="http://schemas.openxmlformats.org/drawingml/2006/main" xmlns:r="http://schemas.openxmlformats.org/officeDocument/2006/relationships" xmlns:p="http://schemas.openxmlformats.org/presentationml/2006/main">
  <p:tag name="EE4P_MAPWIZARD_ID" val="IR"/>
  <p:tag name="EE4P_MAPWIZARD_HEADINGS" val="Admin 0\Continent\UN Region\UN Sub Region"/>
  <p:tag name="EE4P_MAPWIZARD" val="Iran\Asia\Asia\Southern Asia"/>
</p:tagLst>
</file>

<file path=ppt/tags/tag92.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Continent\UN Region\UN Sub Region"/>
  <p:tag name="EE4P_MAPWIZARD" val="Iraq\Asia\Asia\Western Asia"/>
</p:tagLst>
</file>

<file path=ppt/tags/tag93.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Continent\UN Region\UN Sub Region"/>
  <p:tag name="EE4P_MAPWIZARD" val="Iceland\Europe\Europe\Northern Europe"/>
</p:tagLst>
</file>

<file path=ppt/tags/tag94.xml><?xml version="1.0" encoding="utf-8"?>
<p:tagLst xmlns:a="http://schemas.openxmlformats.org/drawingml/2006/main" xmlns:r="http://schemas.openxmlformats.org/officeDocument/2006/relationships" xmlns:p="http://schemas.openxmlformats.org/presentationml/2006/main">
  <p:tag name="EE4P_MAPWIZARD_ID" val="IL"/>
  <p:tag name="EE4P_MAPWIZARD_HEADINGS" val="Admin 0\Continent\UN Region\UN Sub Region"/>
  <p:tag name="EE4P_MAPWIZARD" val="Israel\Asia\Asia\Western Asia"/>
</p:tagLst>
</file>

<file path=ppt/tags/tag95.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96.xml><?xml version="1.0" encoding="utf-8"?>
<p:tagLst xmlns:a="http://schemas.openxmlformats.org/drawingml/2006/main" xmlns:r="http://schemas.openxmlformats.org/officeDocument/2006/relationships" xmlns:p="http://schemas.openxmlformats.org/presentationml/2006/main">
  <p:tag name="EE4P_MAPWIZARD_ID" val="JO"/>
  <p:tag name="EE4P_MAPWIZARD_HEADINGS" val="Admin 0\Continent\UN Region\UN Sub Region"/>
  <p:tag name="EE4P_MAPWIZARD" val="Jordan\Asia\Asia\Western Asia"/>
</p:tagLst>
</file>

<file path=ppt/tags/tag97.xml><?xml version="1.0" encoding="utf-8"?>
<p:tagLst xmlns:a="http://schemas.openxmlformats.org/drawingml/2006/main" xmlns:r="http://schemas.openxmlformats.org/officeDocument/2006/relationships" xmlns:p="http://schemas.openxmlformats.org/presentationml/2006/main">
  <p:tag name="EE4P_MAPWIZARD_ID" val="JP"/>
  <p:tag name="EE4P_MAPWIZARD_HEADINGS" val="Admin 0\Continent\UN Region\UN Sub Region"/>
  <p:tag name="EE4P_MAPWIZARD" val="Japan\Asia\Asia\Eastern Asia"/>
</p:tagLst>
</file>

<file path=ppt/tags/tag98.xml><?xml version="1.0" encoding="utf-8"?>
<p:tagLst xmlns:a="http://schemas.openxmlformats.org/drawingml/2006/main" xmlns:r="http://schemas.openxmlformats.org/officeDocument/2006/relationships" xmlns:p="http://schemas.openxmlformats.org/presentationml/2006/main">
  <p:tag name="EE4P_MAPWIZARD_ID" val="KZ"/>
  <p:tag name="EE4P_MAPWIZARD_HEADINGS" val="Admin 0\Continent\UN Region\UN Sub Region"/>
  <p:tag name="EE4P_MAPWIZARD" val="Kazakhstan\Asia\Asia\Central Asia"/>
</p:tagLst>
</file>

<file path=ppt/tags/tag99.xml><?xml version="1.0" encoding="utf-8"?>
<p:tagLst xmlns:a="http://schemas.openxmlformats.org/drawingml/2006/main" xmlns:r="http://schemas.openxmlformats.org/officeDocument/2006/relationships" xmlns:p="http://schemas.openxmlformats.org/presentationml/2006/main">
  <p:tag name="EE4P_MAPWIZARD_ID" val="KE"/>
  <p:tag name="EE4P_MAPWIZARD_HEADINGS" val="Admin 0\Continent\UN Region\UN Sub Region"/>
  <p:tag name="EE4P_MAPWIZARD" val="Kenya\Africa\Africa\Eastern Africa"/>
</p:tagLst>
</file>

<file path=ppt/theme/theme1.xml><?xml version="1.0" encoding="utf-8"?>
<a:theme xmlns:a="http://schemas.openxmlformats.org/drawingml/2006/main" name="NFI template v20151014">
  <a:themeElements>
    <a:clrScheme name="NFI">
      <a:dk1>
        <a:srgbClr val="000000"/>
      </a:dk1>
      <a:lt1>
        <a:sysClr val="window" lastClr="FFFFFF"/>
      </a:lt1>
      <a:dk2>
        <a:srgbClr val="21586E"/>
      </a:dk2>
      <a:lt2>
        <a:srgbClr val="FFFFFF"/>
      </a:lt2>
      <a:accent1>
        <a:srgbClr val="D7ECEC"/>
      </a:accent1>
      <a:accent2>
        <a:srgbClr val="809497"/>
      </a:accent2>
      <a:accent3>
        <a:srgbClr val="8ABCDC"/>
      </a:accent3>
      <a:accent4>
        <a:srgbClr val="21586E"/>
      </a:accent4>
      <a:accent5>
        <a:srgbClr val="4C5332"/>
      </a:accent5>
      <a:accent6>
        <a:srgbClr val="858531"/>
      </a:accent6>
      <a:hlink>
        <a:srgbClr val="5B9BD5"/>
      </a:hlink>
      <a:folHlink>
        <a:srgbClr val="5B9BD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FI_ppt_mal_v1" id="{0D00AEA4-5516-4139-8209-CE0BFC4662DA}" vid="{E82A3D27-6536-4324-932C-01895B4EBD1B}"/>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10293</TotalTime>
  <Words>1278</Words>
  <Application>Microsoft Macintosh PowerPoint</Application>
  <PresentationFormat>Widescreen</PresentationFormat>
  <Paragraphs>167</Paragraphs>
  <Slides>20</Slides>
  <Notes>20</Notes>
  <HiddenSlides>0</HiddenSlides>
  <MMClips>0</MMClips>
  <ScaleCrop>false</ScaleCrop>
  <HeadingPairs>
    <vt:vector size="6" baseType="variant">
      <vt:variant>
        <vt:lpstr>Brukte skrifter</vt:lpstr>
      </vt:variant>
      <vt:variant>
        <vt:i4>6</vt:i4>
      </vt:variant>
      <vt:variant>
        <vt:lpstr>Tema</vt:lpstr>
      </vt:variant>
      <vt:variant>
        <vt:i4>1</vt:i4>
      </vt:variant>
      <vt:variant>
        <vt:lpstr>Lysbildetitler</vt:lpstr>
      </vt:variant>
      <vt:variant>
        <vt:i4>20</vt:i4>
      </vt:variant>
    </vt:vector>
  </HeadingPairs>
  <TitlesOfParts>
    <vt:vector size="27" baseType="lpstr">
      <vt:lpstr>Arial</vt:lpstr>
      <vt:lpstr>Calibri</vt:lpstr>
      <vt:lpstr>inherit</vt:lpstr>
      <vt:lpstr>Lucida Grande</vt:lpstr>
      <vt:lpstr>Palatino Linotype</vt:lpstr>
      <vt:lpstr>Wingdings</vt:lpstr>
      <vt:lpstr>NFI template v20151014</vt:lpstr>
      <vt:lpstr>PowerPoint-presentasjon</vt:lpstr>
      <vt:lpstr>PowerPoint-presentasjon</vt:lpstr>
      <vt:lpstr>THE “REVENGE” OF THE CONSUMER – NEW BUSINESS OPPORTUNITIES?</vt:lpstr>
      <vt:lpstr>PowerPoint-presentasjon</vt:lpstr>
      <vt:lpstr>How to speed up the electrification?</vt:lpstr>
      <vt:lpstr>Foundation for The Network</vt:lpstr>
      <vt:lpstr>Our business model</vt:lpstr>
      <vt:lpstr>  WHAT IS «techno scouting»? </vt:lpstr>
      <vt:lpstr>NORWEGIAN PARTNERS AND Members </vt:lpstr>
      <vt:lpstr>Norwegian and international CO-partners</vt:lpstr>
      <vt:lpstr>PowerPoint-presentasjon</vt:lpstr>
      <vt:lpstr>WE ALWAYS LOOK FOR WHAT IS NEW…</vt:lpstr>
      <vt:lpstr>WE ALWAYS LOOK FOR SMARTER SOLUTIONS…</vt:lpstr>
      <vt:lpstr>PowerPoint-presentasjon</vt:lpstr>
      <vt:lpstr>THE Advisory board</vt:lpstr>
      <vt:lpstr>HOW WE DO IT todAY</vt:lpstr>
      <vt:lpstr>--- AND THE NEXT STEP</vt:lpstr>
      <vt:lpstr>PowerPoint-presentasjon</vt:lpstr>
      <vt:lpstr>EXECUTIVE SMART PROGRAM</vt:lpstr>
      <vt:lpstr>PowerPoint-presentasj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Windows User</dc:creator>
  <cp:lastModifiedBy>Ragnvald Nærø</cp:lastModifiedBy>
  <cp:revision>500</cp:revision>
  <cp:lastPrinted>2018-09-24T05:09:14Z</cp:lastPrinted>
  <dcterms:created xsi:type="dcterms:W3CDTF">2015-10-14T11:52:59Z</dcterms:created>
  <dcterms:modified xsi:type="dcterms:W3CDTF">2023-02-27T19:29:29Z</dcterms:modified>
</cp:coreProperties>
</file>